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790" r:id="rId5"/>
    <p:sldMasterId id="2147483795" r:id="rId6"/>
    <p:sldMasterId id="2147483845" r:id="rId7"/>
    <p:sldMasterId id="2147483902" r:id="rId8"/>
    <p:sldMasterId id="2147483974" r:id="rId9"/>
  </p:sldMasterIdLst>
  <p:notesMasterIdLst>
    <p:notesMasterId r:id="rId23"/>
  </p:notesMasterIdLst>
  <p:handoutMasterIdLst>
    <p:handoutMasterId r:id="rId24"/>
  </p:handoutMasterIdLst>
  <p:sldIdLst>
    <p:sldId id="1540" r:id="rId10"/>
    <p:sldId id="1593" r:id="rId11"/>
    <p:sldId id="1606" r:id="rId12"/>
    <p:sldId id="1608" r:id="rId13"/>
    <p:sldId id="1600" r:id="rId14"/>
    <p:sldId id="1607" r:id="rId15"/>
    <p:sldId id="1609" r:id="rId16"/>
    <p:sldId id="1610" r:id="rId17"/>
    <p:sldId id="1612" r:id="rId18"/>
    <p:sldId id="1613" r:id="rId19"/>
    <p:sldId id="1614" r:id="rId20"/>
    <p:sldId id="1615" r:id="rId21"/>
    <p:sldId id="1611" r:id="rId22"/>
  </p:sldIdLst>
  <p:sldSz cx="9906000" cy="6858000" type="A4"/>
  <p:notesSz cx="6797675" cy="9928225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81E77A6-13B9-4751-BF93-0ABBEBF2AD97}">
          <p14:sldIdLst>
            <p14:sldId id="1540"/>
            <p14:sldId id="1593"/>
            <p14:sldId id="1606"/>
            <p14:sldId id="1608"/>
            <p14:sldId id="1600"/>
            <p14:sldId id="1607"/>
            <p14:sldId id="1609"/>
            <p14:sldId id="1610"/>
            <p14:sldId id="1612"/>
            <p14:sldId id="1613"/>
            <p14:sldId id="1614"/>
            <p14:sldId id="1615"/>
            <p14:sldId id="1611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4247" userDrawn="1">
          <p15:clr>
            <a:srgbClr val="A4A3A4"/>
          </p15:clr>
        </p15:guide>
        <p15:guide id="2" orient="horz" pos="1003" userDrawn="1">
          <p15:clr>
            <a:srgbClr val="A4A3A4"/>
          </p15:clr>
        </p15:guide>
        <p15:guide id="3" orient="horz" pos="482" userDrawn="1">
          <p15:clr>
            <a:srgbClr val="A4A3A4"/>
          </p15:clr>
        </p15:guide>
        <p15:guide id="4" pos="353" userDrawn="1">
          <p15:clr>
            <a:srgbClr val="A4A3A4"/>
          </p15:clr>
        </p15:guide>
        <p15:guide id="5" pos="172" userDrawn="1">
          <p15:clr>
            <a:srgbClr val="A4A3A4"/>
          </p15:clr>
        </p15:guide>
        <p15:guide id="6" pos="6136" userDrawn="1">
          <p15:clr>
            <a:srgbClr val="A4A3A4"/>
          </p15:clr>
        </p15:guide>
        <p15:guide id="7" pos="637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ome" initials="" lastIdx="0" clrIdx="0"/>
  <p:cmAuthor id="1" name="Pashchenko, Anton" initials="PA" lastIdx="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48F"/>
    <a:srgbClr val="FFDB69"/>
    <a:srgbClr val="FFC305"/>
    <a:srgbClr val="DEA900"/>
    <a:srgbClr val="508CD4"/>
    <a:srgbClr val="006600"/>
    <a:srgbClr val="339966"/>
    <a:srgbClr val="CCE9AD"/>
    <a:srgbClr val="FFFFBD"/>
    <a:srgbClr val="FFFF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41" autoAdjust="0"/>
    <p:restoredTop sz="97914" autoAdjust="0"/>
  </p:normalViewPr>
  <p:slideViewPr>
    <p:cSldViewPr snapToGrid="0">
      <p:cViewPr>
        <p:scale>
          <a:sx n="100" d="100"/>
          <a:sy n="100" d="100"/>
        </p:scale>
        <p:origin x="-192" y="648"/>
      </p:cViewPr>
      <p:guideLst>
        <p:guide orient="horz" pos="4247"/>
        <p:guide orient="horz" pos="1003"/>
        <p:guide orient="horz" pos="482"/>
        <p:guide pos="353"/>
        <p:guide pos="172"/>
        <p:guide pos="6136"/>
        <p:guide pos="637"/>
      </p:guideLst>
    </p:cSldViewPr>
  </p:slideViewPr>
  <p:outlineViewPr>
    <p:cViewPr>
      <p:scale>
        <a:sx n="33" d="100"/>
        <a:sy n="33" d="100"/>
      </p:scale>
      <p:origin x="0" y="165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122"/>
    </p:cViewPr>
  </p:sorterViewPr>
  <p:notesViewPr>
    <p:cSldViewPr snapToGrid="0">
      <p:cViewPr varScale="1">
        <p:scale>
          <a:sx n="51" d="100"/>
          <a:sy n="51" d="100"/>
        </p:scale>
        <p:origin x="2904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4813" cy="496412"/>
          </a:xfrm>
          <a:prstGeom prst="rect">
            <a:avLst/>
          </a:prstGeom>
        </p:spPr>
        <p:txBody>
          <a:bodyPr vert="horz" lIns="88298" tIns="44149" rIns="88298" bIns="44149" rtlCol="0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1280" y="2"/>
            <a:ext cx="2944813" cy="496412"/>
          </a:xfrm>
          <a:prstGeom prst="rect">
            <a:avLst/>
          </a:prstGeom>
        </p:spPr>
        <p:txBody>
          <a:bodyPr vert="horz" lIns="88298" tIns="44149" rIns="88298" bIns="44149" rtlCol="0"/>
          <a:lstStyle>
            <a:lvl1pPr algn="r">
              <a:defRPr sz="1200" smtClean="0"/>
            </a:lvl1pPr>
          </a:lstStyle>
          <a:p>
            <a:pPr>
              <a:defRPr/>
            </a:pPr>
            <a:fld id="{3B3E6D17-A4BE-4D1A-B7BE-734DCC8790D5}" type="datetimeFigureOut">
              <a:rPr lang="en-US"/>
              <a:pPr>
                <a:defRPr/>
              </a:pPr>
              <a:t>1/13/2017</a:t>
            </a:fld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9430220"/>
            <a:ext cx="2944813" cy="496412"/>
          </a:xfrm>
          <a:prstGeom prst="rect">
            <a:avLst/>
          </a:prstGeom>
        </p:spPr>
        <p:txBody>
          <a:bodyPr vert="horz" lIns="88298" tIns="44149" rIns="88298" bIns="44149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1280" y="9430220"/>
            <a:ext cx="2944813" cy="496412"/>
          </a:xfrm>
          <a:prstGeom prst="rect">
            <a:avLst/>
          </a:prstGeom>
        </p:spPr>
        <p:txBody>
          <a:bodyPr vert="horz" lIns="88298" tIns="44149" rIns="88298" bIns="44149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E6E12360-72CD-4746-BCB5-206B3B1DEE8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3826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6400" cy="496412"/>
          </a:xfrm>
          <a:prstGeom prst="rect">
            <a:avLst/>
          </a:prstGeom>
        </p:spPr>
        <p:txBody>
          <a:bodyPr vert="horz" lIns="95671" tIns="47836" rIns="95671" bIns="4783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9" y="2"/>
            <a:ext cx="2946400" cy="496412"/>
          </a:xfrm>
          <a:prstGeom prst="rect">
            <a:avLst/>
          </a:prstGeom>
        </p:spPr>
        <p:txBody>
          <a:bodyPr vert="horz" lIns="95671" tIns="47836" rIns="95671" bIns="4783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1D00D697-9853-4C2C-99FD-C377F55B2514}" type="datetimeFigureOut">
              <a:rPr lang="en-US"/>
              <a:pPr>
                <a:defRPr/>
              </a:pPr>
              <a:t>1/13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7210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71" tIns="47836" rIns="95671" bIns="47836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5" y="4716706"/>
            <a:ext cx="5438775" cy="4467701"/>
          </a:xfrm>
          <a:prstGeom prst="rect">
            <a:avLst/>
          </a:prstGeom>
        </p:spPr>
        <p:txBody>
          <a:bodyPr vert="horz" lIns="95671" tIns="47836" rIns="95671" bIns="47836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220"/>
            <a:ext cx="2946400" cy="496412"/>
          </a:xfrm>
          <a:prstGeom prst="rect">
            <a:avLst/>
          </a:prstGeom>
        </p:spPr>
        <p:txBody>
          <a:bodyPr vert="horz" lIns="95671" tIns="47836" rIns="95671" bIns="4783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9" y="9430220"/>
            <a:ext cx="2946400" cy="496412"/>
          </a:xfrm>
          <a:prstGeom prst="rect">
            <a:avLst/>
          </a:prstGeom>
        </p:spPr>
        <p:txBody>
          <a:bodyPr vert="horz" lIns="95671" tIns="47836" rIns="95671" bIns="4783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CC5010A-741E-4435-A3D3-92A08B4FBA1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937159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0.xml"/><Relationship Id="rId7" Type="http://schemas.openxmlformats.org/officeDocument/2006/relationships/image" Target="../media/image6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2.xml"/><Relationship Id="rId7" Type="http://schemas.openxmlformats.org/officeDocument/2006/relationships/image" Target="../media/image6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4.xml"/><Relationship Id="rId7" Type="http://schemas.openxmlformats.org/officeDocument/2006/relationships/image" Target="../media/image6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6.xml"/><Relationship Id="rId7" Type="http://schemas.openxmlformats.org/officeDocument/2006/relationships/image" Target="../media/image6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8.xml"/><Relationship Id="rId7" Type="http://schemas.openxmlformats.org/officeDocument/2006/relationships/image" Target="../media/image6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0.xml"/><Relationship Id="rId7" Type="http://schemas.openxmlformats.org/officeDocument/2006/relationships/image" Target="../media/image6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2.xml"/><Relationship Id="rId7" Type="http://schemas.openxmlformats.org/officeDocument/2006/relationships/image" Target="../media/image6.jpeg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4.xml"/><Relationship Id="rId7" Type="http://schemas.openxmlformats.org/officeDocument/2006/relationships/image" Target="../media/image6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6.xml"/><Relationship Id="rId7" Type="http://schemas.openxmlformats.org/officeDocument/2006/relationships/image" Target="../media/image6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8.xml"/><Relationship Id="rId7" Type="http://schemas.openxmlformats.org/officeDocument/2006/relationships/image" Target="../media/image6.jpeg"/><Relationship Id="rId2" Type="http://schemas.openxmlformats.org/officeDocument/2006/relationships/tags" Target="../tags/tag3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0.xml"/><Relationship Id="rId7" Type="http://schemas.openxmlformats.org/officeDocument/2006/relationships/image" Target="../media/image6.jpeg"/><Relationship Id="rId2" Type="http://schemas.openxmlformats.org/officeDocument/2006/relationships/tags" Target="../tags/tag3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2.xml"/><Relationship Id="rId7" Type="http://schemas.openxmlformats.org/officeDocument/2006/relationships/image" Target="../media/image6.jpeg"/><Relationship Id="rId2" Type="http://schemas.openxmlformats.org/officeDocument/2006/relationships/tags" Target="../tags/tag4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4.xml"/><Relationship Id="rId7" Type="http://schemas.openxmlformats.org/officeDocument/2006/relationships/image" Target="../media/image6.jpeg"/><Relationship Id="rId2" Type="http://schemas.openxmlformats.org/officeDocument/2006/relationships/tags" Target="../tags/tag4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6.xml"/><Relationship Id="rId7" Type="http://schemas.openxmlformats.org/officeDocument/2006/relationships/image" Target="../media/image6.jpeg"/><Relationship Id="rId2" Type="http://schemas.openxmlformats.org/officeDocument/2006/relationships/tags" Target="../tags/tag4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8.xml"/><Relationship Id="rId7" Type="http://schemas.openxmlformats.org/officeDocument/2006/relationships/image" Target="../media/image6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0.xml"/><Relationship Id="rId7" Type="http://schemas.openxmlformats.org/officeDocument/2006/relationships/image" Target="../media/image6.jpeg"/><Relationship Id="rId2" Type="http://schemas.openxmlformats.org/officeDocument/2006/relationships/tags" Target="../tags/tag4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2.xml"/><Relationship Id="rId7" Type="http://schemas.openxmlformats.org/officeDocument/2006/relationships/image" Target="../media/image6.jpeg"/><Relationship Id="rId2" Type="http://schemas.openxmlformats.org/officeDocument/2006/relationships/tags" Target="../tags/tag5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4.xml"/><Relationship Id="rId7" Type="http://schemas.openxmlformats.org/officeDocument/2006/relationships/image" Target="../media/image6.jpeg"/><Relationship Id="rId2" Type="http://schemas.openxmlformats.org/officeDocument/2006/relationships/tags" Target="../tags/tag5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2.xml"/><Relationship Id="rId7" Type="http://schemas.openxmlformats.org/officeDocument/2006/relationships/image" Target="../media/image6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4.xml"/><Relationship Id="rId7" Type="http://schemas.openxmlformats.org/officeDocument/2006/relationships/image" Target="../media/image6.jpeg"/><Relationship Id="rId2" Type="http://schemas.openxmlformats.org/officeDocument/2006/relationships/tags" Target="../tags/tag6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6.xml"/><Relationship Id="rId7" Type="http://schemas.openxmlformats.org/officeDocument/2006/relationships/image" Target="../media/image6.jpeg"/><Relationship Id="rId2" Type="http://schemas.openxmlformats.org/officeDocument/2006/relationships/tags" Target="../tags/tag6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e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4.xml"/><Relationship Id="rId7" Type="http://schemas.openxmlformats.org/officeDocument/2006/relationships/image" Target="../media/image6.jpeg"/><Relationship Id="rId2" Type="http://schemas.openxmlformats.org/officeDocument/2006/relationships/tags" Target="../tags/tag7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6.xml"/><Relationship Id="rId7" Type="http://schemas.openxmlformats.org/officeDocument/2006/relationships/image" Target="../media/image6.jpeg"/><Relationship Id="rId2" Type="http://schemas.openxmlformats.org/officeDocument/2006/relationships/tags" Target="../tags/tag7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8.xml"/><Relationship Id="rId7" Type="http://schemas.openxmlformats.org/officeDocument/2006/relationships/image" Target="../media/image6.jpeg"/><Relationship Id="rId2" Type="http://schemas.openxmlformats.org/officeDocument/2006/relationships/tags" Target="../tags/tag77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jpe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jpe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7.png"/><Relationship Id="rId2" Type="http://schemas.openxmlformats.org/officeDocument/2006/relationships/tags" Target="../tags/tag8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7.png"/><Relationship Id="rId2" Type="http://schemas.openxmlformats.org/officeDocument/2006/relationships/tags" Target="../tags/tag8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6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.xml"/><Relationship Id="rId7" Type="http://schemas.openxmlformats.org/officeDocument/2006/relationships/image" Target="../media/image6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9.xml"/><Relationship Id="rId7" Type="http://schemas.openxmlformats.org/officeDocument/2006/relationships/image" Target="../media/image6.jpeg"/><Relationship Id="rId2" Type="http://schemas.openxmlformats.org/officeDocument/2006/relationships/tags" Target="../tags/tag8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0.xml"/><Relationship Id="rId4" Type="http://schemas.openxmlformats.org/officeDocument/2006/relationships/image" Target="../media/image7.pn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2.xml"/><Relationship Id="rId7" Type="http://schemas.openxmlformats.org/officeDocument/2006/relationships/image" Target="../media/image6.jpeg"/><Relationship Id="rId2" Type="http://schemas.openxmlformats.org/officeDocument/2006/relationships/tags" Target="../tags/tag9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4.xml"/><Relationship Id="rId7" Type="http://schemas.openxmlformats.org/officeDocument/2006/relationships/image" Target="../media/image6.jpeg"/><Relationship Id="rId2" Type="http://schemas.openxmlformats.org/officeDocument/2006/relationships/tags" Target="../tags/tag9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6.xml"/><Relationship Id="rId7" Type="http://schemas.openxmlformats.org/officeDocument/2006/relationships/image" Target="../media/image6.jpeg"/><Relationship Id="rId2" Type="http://schemas.openxmlformats.org/officeDocument/2006/relationships/tags" Target="../tags/tag9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8.xml"/><Relationship Id="rId7" Type="http://schemas.openxmlformats.org/officeDocument/2006/relationships/image" Target="../media/image6.jpeg"/><Relationship Id="rId2" Type="http://schemas.openxmlformats.org/officeDocument/2006/relationships/tags" Target="../tags/tag9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00.xml"/><Relationship Id="rId7" Type="http://schemas.openxmlformats.org/officeDocument/2006/relationships/image" Target="../media/image6.jpeg"/><Relationship Id="rId2" Type="http://schemas.openxmlformats.org/officeDocument/2006/relationships/tags" Target="../tags/tag9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02.xml"/><Relationship Id="rId7" Type="http://schemas.openxmlformats.org/officeDocument/2006/relationships/image" Target="../media/image6.jpeg"/><Relationship Id="rId2" Type="http://schemas.openxmlformats.org/officeDocument/2006/relationships/tags" Target="../tags/tag10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7.png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04.xml"/><Relationship Id="rId7" Type="http://schemas.openxmlformats.org/officeDocument/2006/relationships/image" Target="../media/image6.jpeg"/><Relationship Id="rId2" Type="http://schemas.openxmlformats.org/officeDocument/2006/relationships/tags" Target="../tags/tag10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06.xml"/><Relationship Id="rId7" Type="http://schemas.openxmlformats.org/officeDocument/2006/relationships/image" Target="../media/image6.jpeg"/><Relationship Id="rId2" Type="http://schemas.openxmlformats.org/officeDocument/2006/relationships/tags" Target="../tags/tag10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08.xml"/><Relationship Id="rId7" Type="http://schemas.openxmlformats.org/officeDocument/2006/relationships/image" Target="../media/image6.jpeg"/><Relationship Id="rId2" Type="http://schemas.openxmlformats.org/officeDocument/2006/relationships/tags" Target="../tags/tag10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0.xml"/><Relationship Id="rId7" Type="http://schemas.openxmlformats.org/officeDocument/2006/relationships/image" Target="../media/image6.jpeg"/><Relationship Id="rId2" Type="http://schemas.openxmlformats.org/officeDocument/2006/relationships/tags" Target="../tags/tag10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2.xml"/><Relationship Id="rId7" Type="http://schemas.openxmlformats.org/officeDocument/2006/relationships/image" Target="../media/image6.jpeg"/><Relationship Id="rId2" Type="http://schemas.openxmlformats.org/officeDocument/2006/relationships/tags" Target="../tags/tag11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4.xml"/><Relationship Id="rId7" Type="http://schemas.openxmlformats.org/officeDocument/2006/relationships/image" Target="../media/image6.jpeg"/><Relationship Id="rId2" Type="http://schemas.openxmlformats.org/officeDocument/2006/relationships/tags" Target="../tags/tag11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6.xml"/><Relationship Id="rId7" Type="http://schemas.openxmlformats.org/officeDocument/2006/relationships/image" Target="../media/image6.jpeg"/><Relationship Id="rId2" Type="http://schemas.openxmlformats.org/officeDocument/2006/relationships/tags" Target="../tags/tag115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8.xml"/><Relationship Id="rId7" Type="http://schemas.openxmlformats.org/officeDocument/2006/relationships/image" Target="../media/image6.jpeg"/><Relationship Id="rId2" Type="http://schemas.openxmlformats.org/officeDocument/2006/relationships/tags" Target="../tags/tag117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0.xml"/><Relationship Id="rId7" Type="http://schemas.openxmlformats.org/officeDocument/2006/relationships/image" Target="../media/image6.jpeg"/><Relationship Id="rId2" Type="http://schemas.openxmlformats.org/officeDocument/2006/relationships/tags" Target="../tags/tag11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2.xml"/><Relationship Id="rId7" Type="http://schemas.openxmlformats.org/officeDocument/2006/relationships/image" Target="../media/image6.jpeg"/><Relationship Id="rId2" Type="http://schemas.openxmlformats.org/officeDocument/2006/relationships/tags" Target="../tags/tag121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4.xml"/><Relationship Id="rId7" Type="http://schemas.openxmlformats.org/officeDocument/2006/relationships/image" Target="../media/image6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4.xml"/><Relationship Id="rId7" Type="http://schemas.openxmlformats.org/officeDocument/2006/relationships/image" Target="../media/image6.jpeg"/><Relationship Id="rId2" Type="http://schemas.openxmlformats.org/officeDocument/2006/relationships/tags" Target="../tags/tag123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6.xml"/><Relationship Id="rId7" Type="http://schemas.openxmlformats.org/officeDocument/2006/relationships/image" Target="../media/image6.jpeg"/><Relationship Id="rId2" Type="http://schemas.openxmlformats.org/officeDocument/2006/relationships/tags" Target="../tags/tag125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8.xml"/><Relationship Id="rId7" Type="http://schemas.openxmlformats.org/officeDocument/2006/relationships/image" Target="../media/image6.jpeg"/><Relationship Id="rId2" Type="http://schemas.openxmlformats.org/officeDocument/2006/relationships/tags" Target="../tags/tag12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30.xml"/><Relationship Id="rId7" Type="http://schemas.openxmlformats.org/officeDocument/2006/relationships/image" Target="../media/image6.jpeg"/><Relationship Id="rId2" Type="http://schemas.openxmlformats.org/officeDocument/2006/relationships/tags" Target="../tags/tag12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32.xml"/><Relationship Id="rId7" Type="http://schemas.openxmlformats.org/officeDocument/2006/relationships/image" Target="../media/image6.jpeg"/><Relationship Id="rId2" Type="http://schemas.openxmlformats.org/officeDocument/2006/relationships/tags" Target="../tags/tag131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6.xml"/><Relationship Id="rId7" Type="http://schemas.openxmlformats.org/officeDocument/2006/relationships/image" Target="../media/image6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8.xml"/><Relationship Id="rId7" Type="http://schemas.openxmlformats.org/officeDocument/2006/relationships/image" Target="../media/image6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/>
        </p:nvPicPr>
        <p:blipFill rotWithShape="1">
          <a:blip r:embed="rId2"/>
          <a:srcRect r="970"/>
          <a:stretch/>
        </p:blipFill>
        <p:spPr>
          <a:xfrm>
            <a:off x="1" y="0"/>
            <a:ext cx="9906000" cy="432108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2944" y="534396"/>
            <a:ext cx="3466869" cy="633942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097" y="534498"/>
            <a:ext cx="4104565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35186" y="4480105"/>
            <a:ext cx="8287098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5186" y="5449760"/>
            <a:ext cx="8287098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1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879395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18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66692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20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675603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3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479687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5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736271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28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731379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52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566417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54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315400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5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908419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59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476378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главление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294682"/>
              </p:ext>
            </p:extLst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8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19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2943" y="532580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2581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8" y="6572300"/>
            <a:ext cx="2787663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233892" y="532581"/>
            <a:ext cx="6135676" cy="6339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dirty="0" smtClean="0"/>
              <a:t>Оглавление</a:t>
            </a:r>
            <a:endParaRPr lang="ru-RU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904880" y="1771650"/>
            <a:ext cx="782830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0"/>
              </a:spcBef>
              <a:spcAft>
                <a:spcPts val="600"/>
              </a:spcAft>
              <a:buAutoNum type="arabicPeriod"/>
            </a:pPr>
            <a:r>
              <a:rPr lang="ru-RU" sz="2000" dirty="0" smtClean="0"/>
              <a:t>Дорожная карта реализации</a:t>
            </a:r>
            <a:r>
              <a:rPr lang="ru-RU" sz="2000" baseline="0" dirty="0" smtClean="0"/>
              <a:t> Сценария 2 «Оптимальный»</a:t>
            </a:r>
            <a:endParaRPr lang="ru-RU" sz="2000" dirty="0" smtClean="0"/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AutoNum type="arabicPeriod"/>
            </a:pPr>
            <a:r>
              <a:rPr lang="ru-RU" sz="2000" dirty="0" smtClean="0"/>
              <a:t>Состав сценария 2 «Оптимальный»</a:t>
            </a:r>
          </a:p>
        </p:txBody>
      </p:sp>
    </p:spTree>
    <p:extLst>
      <p:ext uri="{BB962C8B-B14F-4D97-AF65-F5344CB8AC3E}">
        <p14:creationId xmlns:p14="http://schemas.microsoft.com/office/powerpoint/2010/main" val="3520052571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61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945879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64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898026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66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776521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68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347113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71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286550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3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00921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Дорожная карта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8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10429496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ИТ-стратегия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9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en-US" sz="2000" baseline="0" dirty="0"/>
            </a:lvl1pPr>
          </a:lstStyle>
          <a:p>
            <a:pPr lvl="0"/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19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52943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8" y="6572300"/>
            <a:ext cx="2787663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4" y="238712"/>
            <a:ext cx="5550945" cy="159462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Т стратегии 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года </a:t>
            </a:r>
          </a:p>
        </p:txBody>
      </p:sp>
    </p:spTree>
    <p:extLst>
      <p:ext uri="{BB962C8B-B14F-4D97-AF65-F5344CB8AC3E}">
        <p14:creationId xmlns:p14="http://schemas.microsoft.com/office/powerpoint/2010/main" val="319210587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s Stripes 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4"/>
            <a:ext cx="10003079" cy="692822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59" y="1642534"/>
            <a:ext cx="8420100" cy="1099609"/>
          </a:xfrm>
        </p:spPr>
        <p:txBody>
          <a:bodyPr anchor="b">
            <a:normAutofit/>
          </a:bodyPr>
          <a:lstStyle>
            <a:lvl1pPr algn="l">
              <a:defRPr sz="2400" b="1" cap="none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76959" y="2936132"/>
            <a:ext cx="8420100" cy="1500187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Подзаголовок раздела презентации</a:t>
            </a:r>
            <a:endParaRPr lang="en-GB" dirty="0" smtClean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2942" y="534396"/>
            <a:ext cx="3466869" cy="63394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84" y="534494"/>
            <a:ext cx="4104565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79637" y="2835279"/>
            <a:ext cx="9432755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22670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/>
        </p:nvPicPr>
        <p:blipFill rotWithShape="1">
          <a:blip r:embed="rId2"/>
          <a:srcRect r="970"/>
          <a:stretch/>
        </p:blipFill>
        <p:spPr bwMode="auto">
          <a:xfrm>
            <a:off x="1" y="0"/>
            <a:ext cx="9906000" cy="432108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452946" y="534396"/>
            <a:ext cx="3466869" cy="633942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35186" y="4480105"/>
            <a:ext cx="8287098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635186" y="5449760"/>
            <a:ext cx="8287098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11" descr="accenture.jpg"/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9956" y="366713"/>
            <a:ext cx="2029354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6111308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ВТБ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b="25066"/>
          <a:stretch/>
        </p:blipFill>
        <p:spPr bwMode="auto">
          <a:xfrm>
            <a:off x="8770539" y="109172"/>
            <a:ext cx="1409095" cy="347528"/>
          </a:xfrm>
          <a:prstGeom prst="rect">
            <a:avLst/>
          </a:prstGeom>
          <a:noFill/>
        </p:spPr>
      </p:pic>
      <p:cxnSp>
        <p:nvCxnSpPr>
          <p:cNvPr id="8" name="Straight Connector 7"/>
          <p:cNvCxnSpPr/>
          <p:nvPr userDrawn="1"/>
        </p:nvCxnSpPr>
        <p:spPr>
          <a:xfrm>
            <a:off x="0" y="562736"/>
            <a:ext cx="9906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612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3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14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585020009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Т-стратегия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3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1403220503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орожная карта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3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1437350910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/>
        </p:nvPicPr>
        <p:blipFill rotWithShape="1">
          <a:blip r:embed="rId2"/>
          <a:srcRect r="970"/>
          <a:stretch/>
        </p:blipFill>
        <p:spPr bwMode="auto">
          <a:xfrm>
            <a:off x="1" y="0"/>
            <a:ext cx="9906000" cy="432108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452946" y="534396"/>
            <a:ext cx="3466869" cy="633942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35186" y="4480105"/>
            <a:ext cx="8287098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635186" y="5449760"/>
            <a:ext cx="8287098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11" descr="accenture.jpg"/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9956" y="366713"/>
            <a:ext cx="2029354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741297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4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14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2554479718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Т-стратегия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4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419366127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орожная карта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4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4012253076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s Stripes 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4"/>
            <a:ext cx="10003079" cy="692822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59" y="1642534"/>
            <a:ext cx="8420100" cy="1099609"/>
          </a:xfrm>
        </p:spPr>
        <p:txBody>
          <a:bodyPr anchor="b">
            <a:normAutofit/>
          </a:bodyPr>
          <a:lstStyle>
            <a:lvl1pPr algn="l">
              <a:defRPr sz="2400" b="1" cap="none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76959" y="2936132"/>
            <a:ext cx="8420100" cy="1500187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Подзаголовок раздела презентации</a:t>
            </a:r>
            <a:endParaRPr lang="en-GB" dirty="0" smtClean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2940" y="534396"/>
            <a:ext cx="3466869" cy="63394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84" y="534490"/>
            <a:ext cx="4104565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79637" y="2835279"/>
            <a:ext cx="9432755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42758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vers Stripes 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4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59" y="1642534"/>
            <a:ext cx="8420100" cy="1099609"/>
          </a:xfrm>
        </p:spPr>
        <p:txBody>
          <a:bodyPr anchor="b">
            <a:normAutofit/>
          </a:bodyPr>
          <a:lstStyle>
            <a:lvl1pPr algn="l">
              <a:defRPr sz="2400" b="1" cap="none"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2940" y="534396"/>
            <a:ext cx="3466869" cy="63394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84" y="534490"/>
            <a:ext cx="4104565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76383" y="2936881"/>
            <a:ext cx="8420676" cy="2989263"/>
          </a:xfrm>
        </p:spPr>
        <p:txBody>
          <a:bodyPr numCol="2">
            <a:normAutofit/>
          </a:bodyPr>
          <a:lstStyle>
            <a:lvl1pPr marL="180975" marR="0" indent="-1635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Tx/>
              <a:buSzPct val="100000"/>
              <a:buFontTx/>
              <a:buBlip>
                <a:blip r:embed="rId4"/>
              </a:buBlip>
              <a:tabLst/>
              <a:defRPr sz="1300" baseline="0"/>
            </a:lvl1pPr>
          </a:lstStyle>
          <a:p>
            <a:pPr lvl="0"/>
            <a:r>
              <a:rPr lang="ru-RU" dirty="0" smtClean="0"/>
              <a:t>Содержание раздела презентации</a:t>
            </a:r>
          </a:p>
          <a:p>
            <a:pPr lvl="0"/>
            <a:r>
              <a:rPr lang="ru-RU" dirty="0" smtClean="0"/>
              <a:t>Содержание раздела презентации</a:t>
            </a:r>
          </a:p>
          <a:p>
            <a:pPr marL="180975" marR="0" lvl="0" indent="-1635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ru-RU" dirty="0" smtClean="0"/>
              <a:t>Содержание раздела презентации</a:t>
            </a:r>
            <a:endParaRPr lang="en-US" dirty="0" smtClean="0"/>
          </a:p>
          <a:p>
            <a:pPr lvl="0"/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79637" y="2835279"/>
            <a:ext cx="9432755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4732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Covers Stripes 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4"/>
            <a:ext cx="10003079" cy="6928225"/>
          </a:xfrm>
          <a:prstGeom prst="rect">
            <a:avLst/>
          </a:prstGeom>
        </p:spPr>
      </p:pic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7324724" y="652781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DDF61C1-2457-E848-BB6B-E1DA9A549776}" type="slidenum">
              <a:rPr lang="en-US" sz="800" smtClean="0">
                <a:solidFill>
                  <a:prstClr val="white"/>
                </a:solidFill>
                <a:latin typeface="Arial"/>
                <a:cs typeface="Arial"/>
              </a:rPr>
              <a:pPr algn="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pic>
        <p:nvPicPr>
          <p:cNvPr id="15" name="Picture 14" descr="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2940" y="534396"/>
            <a:ext cx="3466869" cy="633942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3573" y="1549400"/>
            <a:ext cx="4272738" cy="330964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3573" y="1880365"/>
            <a:ext cx="4272738" cy="4088636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2160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9377" y="1549400"/>
            <a:ext cx="4462989" cy="330964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9377" y="1880365"/>
            <a:ext cx="4462989" cy="4088636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180000" rIns="216000" bIns="936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5036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638" y="250907"/>
            <a:ext cx="7830301" cy="307777"/>
          </a:xfrm>
        </p:spPr>
        <p:txBody>
          <a:bodyPr lIns="71954" tIns="0" rIns="71954" bIns="0">
            <a:spAutoFit/>
          </a:bodyPr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5DC41E-C340-4148-88F8-F4CDD87E1703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71117" y="712586"/>
            <a:ext cx="9579240" cy="292516"/>
          </a:xfrm>
        </p:spPr>
        <p:txBody>
          <a:bodyPr lIns="71954" tIns="35976" rIns="71954" bIns="35976">
            <a:spAutoFit/>
          </a:bodyPr>
          <a:lstStyle>
            <a:lvl1pPr marL="0" indent="0">
              <a:defRPr sz="1400" b="0"/>
            </a:lvl1pPr>
          </a:lstStyle>
          <a:p>
            <a:pPr lvl="0"/>
            <a:r>
              <a:rPr lang="en-US" dirty="0" smtClean="0"/>
              <a:t>Click to edit Subject tit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76141" y="-3170"/>
            <a:ext cx="1824700" cy="58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-3422" y="6616052"/>
            <a:ext cx="4227995" cy="242047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r>
              <a:rPr lang="en-US" dirty="0" smtClean="0"/>
              <a:t>Copyright © 2014 Accenture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73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38992"/>
            <a:ext cx="136500" cy="5934808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7324724" y="652781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DDF61C1-2457-E848-BB6B-E1DA9A549776}" type="slidenum">
              <a:rPr lang="en-US" sz="800" smtClean="0">
                <a:solidFill>
                  <a:prstClr val="black"/>
                </a:solidFill>
                <a:latin typeface="Arial"/>
                <a:cs typeface="Arial"/>
              </a:rPr>
              <a:pPr algn="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prstClr val="black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29870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Covers Stripes 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02308" cy="692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2"/>
          <p:cNvSpPr/>
          <p:nvPr userDrawn="1"/>
        </p:nvSpPr>
        <p:spPr>
          <a:xfrm>
            <a:off x="6" y="534988"/>
            <a:ext cx="135864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5" descr="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2658" y="534988"/>
            <a:ext cx="34671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10"/>
          <p:cNvCxnSpPr/>
          <p:nvPr/>
        </p:nvCxnSpPr>
        <p:spPr>
          <a:xfrm>
            <a:off x="579580" y="2835275"/>
            <a:ext cx="9433057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59" y="1642534"/>
            <a:ext cx="8420100" cy="1099609"/>
          </a:xfrm>
        </p:spPr>
        <p:txBody>
          <a:bodyPr anchor="b">
            <a:normAutofit/>
          </a:bodyPr>
          <a:lstStyle>
            <a:lvl1pPr algn="l">
              <a:defRPr sz="2400" b="1" cap="none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6959" y="2936132"/>
            <a:ext cx="8420100" cy="1500187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76984" y="534448"/>
            <a:ext cx="4104565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557548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vers Stripes 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02308" cy="692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2658" y="534988"/>
            <a:ext cx="34671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1"/>
          <p:cNvSpPr/>
          <p:nvPr userDrawn="1"/>
        </p:nvSpPr>
        <p:spPr>
          <a:xfrm>
            <a:off x="6" y="534988"/>
            <a:ext cx="135864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959" y="1642534"/>
            <a:ext cx="8420100" cy="1099609"/>
          </a:xfrm>
        </p:spPr>
        <p:txBody>
          <a:bodyPr anchor="b">
            <a:normAutofit/>
          </a:bodyPr>
          <a:lstStyle>
            <a:lvl1pPr algn="l">
              <a:defRPr sz="2400" b="1" cap="none"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76984" y="534448"/>
            <a:ext cx="4104565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76383" y="2936876"/>
            <a:ext cx="8420676" cy="1008481"/>
          </a:xfrm>
        </p:spPr>
        <p:txBody>
          <a:bodyPr>
            <a:spAutoFit/>
          </a:bodyPr>
          <a:lstStyle>
            <a:lvl1pPr marL="180975" marR="0" indent="-1635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Tx/>
              <a:buSzPct val="100000"/>
              <a:buFontTx/>
              <a:buBlip>
                <a:blip r:embed="rId4"/>
              </a:buBlip>
              <a:tabLst>
                <a:tab pos="2419350" algn="l"/>
              </a:tabLst>
              <a:defRPr sz="1300" baseline="0"/>
            </a:lvl1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606112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overs Stripes 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02308" cy="692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2658" y="534988"/>
            <a:ext cx="34671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2"/>
          <p:cNvSpPr/>
          <p:nvPr userDrawn="1"/>
        </p:nvSpPr>
        <p:spPr>
          <a:xfrm>
            <a:off x="6" y="534988"/>
            <a:ext cx="135864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573" y="534447"/>
            <a:ext cx="4983586" cy="633943"/>
          </a:xfrm>
        </p:spPr>
        <p:txBody>
          <a:bodyPr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3573" y="1549399"/>
            <a:ext cx="4375150" cy="44704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buClr>
                <a:srgbClr val="266234"/>
              </a:buClr>
              <a:buSzPct val="120000"/>
              <a:buFont typeface="Arial"/>
              <a:buChar char="•"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47216" y="1549399"/>
            <a:ext cx="4375150" cy="44704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324593" y="6527851"/>
            <a:ext cx="2311400" cy="365125"/>
          </a:xfrm>
        </p:spPr>
        <p:txBody>
          <a:bodyPr/>
          <a:lstStyle>
            <a:lvl1pPr defTabSz="914400"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59FDCA33-B6B7-42B7-AE41-A7B66A618C2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22902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2" descr="Covers Stripes 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02308" cy="692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7324593" y="6527851"/>
            <a:ext cx="23114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B0F35D1D-B537-4C29-B594-DDD8B0252AEF}" type="slidenum">
              <a:rPr lang="en-US" sz="800" smtClean="0">
                <a:solidFill>
                  <a:prstClr val="white"/>
                </a:solidFill>
                <a:latin typeface="Arial"/>
                <a:cs typeface="Arial"/>
              </a:rPr>
              <a:pPr algn="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pic>
        <p:nvPicPr>
          <p:cNvPr id="9" name="Picture 14" descr="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2658" y="534988"/>
            <a:ext cx="34671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5"/>
          <p:cNvSpPr/>
          <p:nvPr userDrawn="1"/>
        </p:nvSpPr>
        <p:spPr>
          <a:xfrm>
            <a:off x="6" y="534988"/>
            <a:ext cx="135864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3573" y="1549400"/>
            <a:ext cx="4272738" cy="330964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3573" y="1880365"/>
            <a:ext cx="4272738" cy="4088636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2160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9377" y="1549400"/>
            <a:ext cx="4462989" cy="330964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9377" y="1880365"/>
            <a:ext cx="4462989" cy="4088636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180000" rIns="216000" bIns="936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21275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6" y="339728"/>
            <a:ext cx="135864" cy="593407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3576" y="1274553"/>
            <a:ext cx="8987931" cy="4999251"/>
          </a:xfrm>
        </p:spPr>
        <p:txBody>
          <a:bodyPr/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  <a:p>
            <a:pPr lvl="1"/>
            <a:r>
              <a:rPr lang="ru-RU" dirty="0" err="1" smtClean="0"/>
              <a:t>Secon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2"/>
            <a:r>
              <a:rPr lang="ru-RU" dirty="0" err="1" smtClean="0"/>
              <a:t>Thir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3"/>
            <a:r>
              <a:rPr lang="ru-RU" dirty="0" err="1" smtClean="0"/>
              <a:t>Four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4"/>
            <a:r>
              <a:rPr lang="ru-RU" dirty="0" err="1" smtClean="0"/>
              <a:t>Fif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604EC06C-0447-486D-A582-93B9BB30D64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11"/>
          <p:cNvSpPr>
            <a:spLocks noGrp="1"/>
          </p:cNvSpPr>
          <p:nvPr>
            <p:ph type="ftr" sz="quarter" idx="12"/>
          </p:nvPr>
        </p:nvSpPr>
        <p:spPr>
          <a:xfrm>
            <a:off x="7310835" y="339725"/>
            <a:ext cx="2311400" cy="544513"/>
          </a:xfrm>
        </p:spPr>
        <p:txBody>
          <a:bodyPr/>
          <a:lstStyle>
            <a:lvl1pPr algn="r" defTabSz="914400">
              <a:defRPr sz="800" b="0" i="0">
                <a:solidFill>
                  <a:prstClr val="black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972549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отчета с ган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2" descr="Covers Stripes 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19758" cy="6870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15"/>
          <p:cNvSpPr/>
          <p:nvPr userDrawn="1"/>
        </p:nvSpPr>
        <p:spPr>
          <a:xfrm>
            <a:off x="6" y="534988"/>
            <a:ext cx="135864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14" descr="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2658" y="534988"/>
            <a:ext cx="34671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310835" y="6438951"/>
            <a:ext cx="2311400" cy="365125"/>
          </a:xfrm>
        </p:spPr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604EC06C-0447-486D-A582-93B9BB30D64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231932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/>
        </p:nvPicPr>
        <p:blipFill rotWithShape="1">
          <a:blip r:embed="rId2"/>
          <a:srcRect r="970"/>
          <a:stretch/>
        </p:blipFill>
        <p:spPr>
          <a:xfrm>
            <a:off x="1" y="0"/>
            <a:ext cx="9906000" cy="432108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2944" y="534396"/>
            <a:ext cx="3466869" cy="633942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097" y="534498"/>
            <a:ext cx="4104565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35186" y="4480105"/>
            <a:ext cx="8287098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5186" y="5449760"/>
            <a:ext cx="8287098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81594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ИТ Стратег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4505484"/>
              </p:ext>
            </p:extLst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5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" y="0"/>
            <a:ext cx="9919783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19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2943" y="532580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2581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2168397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главление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6848414"/>
              </p:ext>
            </p:extLst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6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19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2943" y="532580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2581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8" y="6572300"/>
            <a:ext cx="2787663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233892" y="532581"/>
            <a:ext cx="6135676" cy="6339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dirty="0" smtClean="0">
                <a:solidFill>
                  <a:prstClr val="black"/>
                </a:solidFill>
              </a:rPr>
              <a:t>Оглавление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904880" y="1771650"/>
            <a:ext cx="782830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0"/>
              </a:spcBef>
              <a:spcAft>
                <a:spcPts val="600"/>
              </a:spcAft>
              <a:buFontTx/>
              <a:buAutoNum type="arabicPeriod"/>
            </a:pPr>
            <a:r>
              <a:rPr lang="ru-RU" sz="2000" dirty="0" smtClean="0">
                <a:solidFill>
                  <a:prstClr val="black"/>
                </a:solidFill>
              </a:rPr>
              <a:t>Дорожная карта реализации Сценария 2 «Оптимальный»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Tx/>
              <a:buAutoNum type="arabicPeriod"/>
            </a:pPr>
            <a:r>
              <a:rPr lang="ru-RU" sz="2000" dirty="0" smtClean="0">
                <a:solidFill>
                  <a:prstClr val="black"/>
                </a:solidFill>
              </a:rPr>
              <a:t>Состав сценария 2 «Оптимальный»</a:t>
            </a:r>
          </a:p>
        </p:txBody>
      </p:sp>
    </p:spTree>
    <p:extLst>
      <p:ext uri="{BB962C8B-B14F-4D97-AF65-F5344CB8AC3E}">
        <p14:creationId xmlns:p14="http://schemas.microsoft.com/office/powerpoint/2010/main" val="967684468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9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4087354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6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ВТБ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b="25066"/>
          <a:stretch/>
        </p:blipFill>
        <p:spPr bwMode="auto">
          <a:xfrm>
            <a:off x="8770539" y="109172"/>
            <a:ext cx="1409095" cy="347528"/>
          </a:xfrm>
          <a:prstGeom prst="rect">
            <a:avLst/>
          </a:prstGeom>
          <a:noFill/>
        </p:spPr>
      </p:pic>
      <p:cxnSp>
        <p:nvCxnSpPr>
          <p:cNvPr id="8" name="Straight Connector 7"/>
          <p:cNvCxnSpPr/>
          <p:nvPr userDrawn="1"/>
        </p:nvCxnSpPr>
        <p:spPr>
          <a:xfrm>
            <a:off x="0" y="562736"/>
            <a:ext cx="9906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5096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638" y="250907"/>
            <a:ext cx="7830301" cy="307777"/>
          </a:xfrm>
        </p:spPr>
        <p:txBody>
          <a:bodyPr lIns="71954" tIns="0" rIns="71954" bIns="0">
            <a:spAutoFit/>
          </a:bodyPr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5DC41E-C340-4148-88F8-F4CDD87E1703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71117" y="712586"/>
            <a:ext cx="9579240" cy="292516"/>
          </a:xfrm>
        </p:spPr>
        <p:txBody>
          <a:bodyPr lIns="71954" tIns="35976" rIns="71954" bIns="35976">
            <a:spAutoFit/>
          </a:bodyPr>
          <a:lstStyle>
            <a:lvl1pPr marL="0" indent="0">
              <a:defRPr sz="1400" b="0"/>
            </a:lvl1pPr>
          </a:lstStyle>
          <a:p>
            <a:pPr lvl="0"/>
            <a:r>
              <a:rPr lang="en-US" dirty="0" smtClean="0"/>
              <a:t>Click to edit Subject title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76141" y="-3170"/>
            <a:ext cx="1824700" cy="58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-3422" y="6616052"/>
            <a:ext cx="4227995" cy="242047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r>
              <a:rPr dirty="0"/>
              <a:t>Copyright © 2014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25721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6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896344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" y="4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3572" y="534499"/>
            <a:ext cx="451580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3"/>
            <a:ext cx="23114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AcnRoadmap_ID_5"/>
          <p:cNvSpPr txBox="1"/>
          <p:nvPr userDrawn="1">
            <p:custDataLst>
              <p:tags r:id="rId1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56034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7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450913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9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270077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72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176820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74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998330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7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199376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79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818205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" y="4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3572" y="534499"/>
            <a:ext cx="451580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3"/>
            <a:ext cx="23114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AcnRoadmap_ID_5"/>
          <p:cNvSpPr txBox="1"/>
          <p:nvPr userDrawn="1">
            <p:custDataLst>
              <p:tags r:id="rId1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95416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81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223138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84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756772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6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549936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88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177222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1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590433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93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922349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96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270175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98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859146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0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489328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03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932085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08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605577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05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4186083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08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580907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10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663330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Дорожная карта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1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249354678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ИТ-стратегия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en-US" sz="2000" baseline="0" dirty="0"/>
            </a:lvl1pPr>
          </a:lstStyle>
          <a:p>
            <a:pPr lvl="0"/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19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52943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8" y="6572300"/>
            <a:ext cx="2787663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4" y="238712"/>
            <a:ext cx="5550945" cy="159462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ИТ стратегии 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года </a:t>
            </a:r>
          </a:p>
        </p:txBody>
      </p:sp>
    </p:spTree>
    <p:extLst>
      <p:ext uri="{BB962C8B-B14F-4D97-AF65-F5344CB8AC3E}">
        <p14:creationId xmlns:p14="http://schemas.microsoft.com/office/powerpoint/2010/main" val="3662666907"/>
      </p:ext>
    </p:extLst>
  </p:cSld>
  <p:clrMapOvr>
    <a:masterClrMapping/>
  </p:clrMapOvr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Covers Stripes 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4"/>
            <a:ext cx="10003079" cy="6928225"/>
          </a:xfrm>
          <a:prstGeom prst="rect">
            <a:avLst/>
          </a:prstGeom>
        </p:spPr>
      </p:pic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7324724" y="652781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DDF61C1-2457-E848-BB6B-E1DA9A549776}" type="slidenum">
              <a:rPr lang="en-US" sz="800" smtClean="0">
                <a:solidFill>
                  <a:prstClr val="white"/>
                </a:solidFill>
                <a:latin typeface="Arial"/>
                <a:cs typeface="Arial"/>
              </a:rPr>
              <a:pPr algn="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pic>
        <p:nvPicPr>
          <p:cNvPr id="15" name="Picture 14" descr="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2943" y="534396"/>
            <a:ext cx="3466869" cy="633942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3573" y="1549400"/>
            <a:ext cx="4272738" cy="330964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3573" y="1880365"/>
            <a:ext cx="4272738" cy="4088636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2160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9377" y="1549400"/>
            <a:ext cx="4462989" cy="330964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9377" y="1880365"/>
            <a:ext cx="4462989" cy="4088636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180000" rIns="216000" bIns="936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34660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s Stripes 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4"/>
            <a:ext cx="10003079" cy="692822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59" y="1642534"/>
            <a:ext cx="8420100" cy="1099609"/>
          </a:xfrm>
        </p:spPr>
        <p:txBody>
          <a:bodyPr anchor="b">
            <a:normAutofit/>
          </a:bodyPr>
          <a:lstStyle>
            <a:lvl1pPr algn="l">
              <a:defRPr sz="2400" b="1" cap="none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76959" y="2936132"/>
            <a:ext cx="8420100" cy="1500187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Подзаголовок раздела презентации</a:t>
            </a:r>
            <a:endParaRPr lang="en-GB" dirty="0" smtClean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2942" y="534396"/>
            <a:ext cx="3466869" cy="63394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84" y="534494"/>
            <a:ext cx="4104565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79637" y="2835279"/>
            <a:ext cx="9432755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86947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11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56978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13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225970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tags" Target="../tags/tag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oleObject" Target="../embeddings/oleObject26.bin"/><Relationship Id="rId3" Type="http://schemas.openxmlformats.org/officeDocument/2006/relationships/slideLayout" Target="../slideLayouts/slideLayout3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vmlDrawing" Target="../drawings/vmlDrawing26.vml"/><Relationship Id="rId11" Type="http://schemas.openxmlformats.org/officeDocument/2006/relationships/tags" Target="../tags/tag59.xml"/><Relationship Id="rId5" Type="http://schemas.openxmlformats.org/officeDocument/2006/relationships/theme" Target="../theme/theme2.xml"/><Relationship Id="rId15" Type="http://schemas.openxmlformats.org/officeDocument/2006/relationships/image" Target="../media/image2.png"/><Relationship Id="rId10" Type="http://schemas.openxmlformats.org/officeDocument/2006/relationships/tags" Target="../tags/tag58.xml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57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oleObject" Target="../embeddings/oleObject30.bin"/><Relationship Id="rId3" Type="http://schemas.openxmlformats.org/officeDocument/2006/relationships/slideLayout" Target="../slideLayouts/slideLayout35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vmlDrawing" Target="../drawings/vmlDrawing30.vml"/><Relationship Id="rId11" Type="http://schemas.openxmlformats.org/officeDocument/2006/relationships/tags" Target="../tags/tag71.xml"/><Relationship Id="rId5" Type="http://schemas.openxmlformats.org/officeDocument/2006/relationships/theme" Target="../theme/theme3.xml"/><Relationship Id="rId15" Type="http://schemas.openxmlformats.org/officeDocument/2006/relationships/image" Target="../media/image2.png"/><Relationship Id="rId10" Type="http://schemas.openxmlformats.org/officeDocument/2006/relationships/tags" Target="../tags/tag70.xml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69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3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slideLayout" Target="../slideLayouts/slideLayout72.xml"/><Relationship Id="rId39" Type="http://schemas.openxmlformats.org/officeDocument/2006/relationships/oleObject" Target="../embeddings/oleObject34.bin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34" Type="http://schemas.openxmlformats.org/officeDocument/2006/relationships/tags" Target="../tags/tag80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33" Type="http://schemas.openxmlformats.org/officeDocument/2006/relationships/tags" Target="../tags/tag79.xml"/><Relationship Id="rId38" Type="http://schemas.openxmlformats.org/officeDocument/2006/relationships/tags" Target="../tags/tag84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5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vmlDrawing" Target="../drawings/vmlDrawing34.vml"/><Relationship Id="rId37" Type="http://schemas.openxmlformats.org/officeDocument/2006/relationships/tags" Target="../tags/tag83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36" Type="http://schemas.openxmlformats.org/officeDocument/2006/relationships/tags" Target="../tags/tag82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31" Type="http://schemas.openxmlformats.org/officeDocument/2006/relationships/theme" Target="../theme/theme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76.xml"/><Relationship Id="rId35" Type="http://schemas.openxmlformats.org/officeDocument/2006/relationships/tags" Target="../tags/tag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3572" y="338997"/>
            <a:ext cx="4515804" cy="545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4158" y="1274553"/>
            <a:ext cx="8957347" cy="499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793625" y="643892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310966" y="643892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7191076" y="338997"/>
            <a:ext cx="2431343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Название презентации (задается в настройках footer)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62202462"/>
              </p:ext>
            </p:extLst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030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AC Banner"/>
          <p:cNvSpPr>
            <a:spLocks noChangeArrowheads="1"/>
          </p:cNvSpPr>
          <p:nvPr userDrawn="1"/>
        </p:nvSpPr>
        <p:spPr bwMode="gray">
          <a:xfrm>
            <a:off x="0" y="0"/>
            <a:ext cx="9906000" cy="58420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10" name="AcnSubjectTitle_ID_9" hidden="1"/>
          <p:cNvSpPr txBox="1"/>
          <p:nvPr userDrawn="1">
            <p:custDataLst>
              <p:tags r:id="rId32"/>
            </p:custDataLst>
          </p:nvPr>
        </p:nvSpPr>
        <p:spPr bwMode="gray">
          <a:xfrm>
            <a:off x="194338" y="646113"/>
            <a:ext cx="9512167" cy="2159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1400" b="1" dirty="0"/>
              <a:t>Subject Title</a:t>
            </a:r>
          </a:p>
        </p:txBody>
      </p:sp>
      <p:sp>
        <p:nvSpPr>
          <p:cNvPr id="11" name="AcnRoadmap_ID_12" hidden="1"/>
          <p:cNvSpPr txBox="1"/>
          <p:nvPr userDrawn="1">
            <p:custDataLst>
              <p:tags r:id="rId33"/>
            </p:custDataLst>
          </p:nvPr>
        </p:nvSpPr>
        <p:spPr bwMode="gray">
          <a:xfrm>
            <a:off x="0" y="3"/>
            <a:ext cx="8323792" cy="174851"/>
          </a:xfrm>
          <a:prstGeom prst="rect">
            <a:avLst/>
          </a:prstGeom>
          <a:noFill/>
        </p:spPr>
        <p:txBody>
          <a:bodyPr lIns="36000" tIns="0" rIns="36000" bIns="36000">
            <a:spAutoFit/>
          </a:bodyPr>
          <a:lstStyle/>
          <a:p>
            <a:pPr>
              <a:defRPr/>
            </a:pPr>
            <a:r>
              <a:rPr lang="en-US" sz="900" i="1" dirty="0">
                <a:solidFill>
                  <a:srgbClr val="FFFFFF"/>
                </a:solidFill>
              </a:rPr>
              <a:t>Roadmap</a:t>
            </a:r>
          </a:p>
        </p:txBody>
      </p:sp>
      <p:sp>
        <p:nvSpPr>
          <p:cNvPr id="13" name="AcnStamp_ID_10" hidden="1"/>
          <p:cNvSpPr/>
          <p:nvPr userDrawn="1">
            <p:custDataLst>
              <p:tags r:id="rId34"/>
            </p:custDataLst>
          </p:nvPr>
        </p:nvSpPr>
        <p:spPr bwMode="gray">
          <a:xfrm>
            <a:off x="9706504" y="754062"/>
            <a:ext cx="0" cy="0"/>
          </a:xfrm>
          <a:prstGeom prst="leftRightArrow">
            <a:avLst>
              <a:gd name="adj1" fmla="val 0"/>
              <a:gd name="adj2" fmla="val 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5400" rIns="0" bIns="254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ASTER STAMP</a:t>
            </a:r>
          </a:p>
        </p:txBody>
      </p:sp>
      <p:cxnSp>
        <p:nvCxnSpPr>
          <p:cNvPr id="14" name="AcnStpConnector_ID_13" hidden="1"/>
          <p:cNvCxnSpPr>
            <a:stCxn id="10" idx="2"/>
            <a:endCxn id="10" idx="0"/>
          </p:cNvCxnSpPr>
          <p:nvPr userDrawn="1">
            <p:custDataLst>
              <p:tags r:id="rId35"/>
            </p:custDataLst>
          </p:nvPr>
        </p:nvCxnSpPr>
        <p:spPr bwMode="gray">
          <a:xfrm rot="5400000" flipH="1" flipV="1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AcnStpConnector_ID_14" hidden="1"/>
          <p:cNvCxnSpPr>
            <a:stCxn id="10" idx="4"/>
            <a:endCxn id="10" idx="6"/>
          </p:cNvCxnSpPr>
          <p:nvPr userDrawn="1">
            <p:custDataLst>
              <p:tags r:id="rId36"/>
            </p:custDataLst>
          </p:nvPr>
        </p:nvCxnSpPr>
        <p:spPr bwMode="gray">
          <a:xfrm rot="5400000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800" r:id="rId2"/>
    <p:sldLayoutId id="2147483764" r:id="rId3"/>
    <p:sldLayoutId id="2147483765" r:id="rId4"/>
    <p:sldLayoutId id="2147483766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  <p:sldLayoutId id="2147483781" r:id="rId19"/>
    <p:sldLayoutId id="2147483782" r:id="rId20"/>
    <p:sldLayoutId id="2147483783" r:id="rId21"/>
    <p:sldLayoutId id="2147483784" r:id="rId22"/>
    <p:sldLayoutId id="2147483785" r:id="rId23"/>
    <p:sldLayoutId id="2147483786" r:id="rId24"/>
    <p:sldLayoutId id="2147483787" r:id="rId25"/>
    <p:sldLayoutId id="2147483802" r:id="rId26"/>
    <p:sldLayoutId id="2147483836" r:id="rId27"/>
    <p:sldLayoutId id="2147483844" r:id="rId28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80975" indent="-163513" algn="l" defTabSz="457200" rtl="0" eaLnBrk="1" latinLnBrk="0" hangingPunct="1">
        <a:spcBef>
          <a:spcPct val="20000"/>
        </a:spcBef>
        <a:buSzPct val="100000"/>
        <a:buFontTx/>
        <a:buBlip>
          <a:blip r:embed="rId39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1pPr>
      <a:lvl2pPr marL="360363" indent="-179388" algn="l" defTabSz="358775" rtl="0" eaLnBrk="1" latinLnBrk="0" hangingPunct="1">
        <a:spcBef>
          <a:spcPct val="20000"/>
        </a:spcBef>
        <a:buClr>
          <a:srgbClr val="266234"/>
        </a:buClr>
        <a:buSzPct val="140000"/>
        <a:buFont typeface="Arial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2pPr>
      <a:lvl3pPr marL="536575" indent="-157163" algn="l" defTabSz="457200" rtl="0" eaLnBrk="1" latinLnBrk="0" hangingPunct="1">
        <a:spcBef>
          <a:spcPct val="20000"/>
        </a:spcBef>
        <a:buClr>
          <a:srgbClr val="266234"/>
        </a:buClr>
        <a:buSzPct val="120000"/>
        <a:buFont typeface="Wingdings" charset="2"/>
        <a:buChar char="§"/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715963" indent="-174625" algn="l" defTabSz="457200" rtl="0" eaLnBrk="1" latinLnBrk="0" hangingPunct="1">
        <a:spcBef>
          <a:spcPct val="20000"/>
        </a:spcBef>
        <a:buClr>
          <a:srgbClr val="266234"/>
        </a:buClr>
        <a:buFont typeface="Arial"/>
        <a:buChar char="–"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896938" indent="-176213" algn="l" defTabSz="457200" rtl="0" eaLnBrk="1" latinLnBrk="0" hangingPunct="1">
        <a:spcBef>
          <a:spcPct val="20000"/>
        </a:spcBef>
        <a:buClr>
          <a:srgbClr val="266234"/>
        </a:buClr>
        <a:buSzPct val="50000"/>
        <a:buFont typeface="Wingdings" charset="2"/>
        <a:buChar char="u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43572" y="338997"/>
            <a:ext cx="4515804" cy="545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74158" y="1274553"/>
            <a:ext cx="8957347" cy="499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auto">
          <a:xfrm>
            <a:off x="3793625" y="643892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7310966" y="643892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437E6A53-12D0-4565-8FD2-2E3BCBAC06CA}" type="slidenum">
              <a:rPr 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auto">
          <a:xfrm>
            <a:off x="7191078" y="338997"/>
            <a:ext cx="2431343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black"/>
                </a:solidFill>
              </a:rPr>
              <a:t>Название презентации (задается в настройках footer)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31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AC Banner"/>
          <p:cNvSpPr>
            <a:spLocks noChangeArrowheads="1"/>
          </p:cNvSpPr>
          <p:nvPr userDrawn="1"/>
        </p:nvSpPr>
        <p:spPr bwMode="auto">
          <a:xfrm>
            <a:off x="0" y="0"/>
            <a:ext cx="9906000" cy="58420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AcnSubjectTitle_ID_9" hidden="1"/>
          <p:cNvSpPr txBox="1"/>
          <p:nvPr userDrawn="1">
            <p:custDataLst>
              <p:tags r:id="rId8"/>
            </p:custDataLst>
          </p:nvPr>
        </p:nvSpPr>
        <p:spPr bwMode="auto">
          <a:xfrm>
            <a:off x="194338" y="646113"/>
            <a:ext cx="9512167" cy="2159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latin typeface="Calibri"/>
              </a:rPr>
              <a:t>Subject Title</a:t>
            </a:r>
          </a:p>
        </p:txBody>
      </p:sp>
      <p:sp>
        <p:nvSpPr>
          <p:cNvPr id="11" name="AcnRoadmap_ID_12" hidden="1"/>
          <p:cNvSpPr txBox="1"/>
          <p:nvPr userDrawn="1">
            <p:custDataLst>
              <p:tags r:id="rId9"/>
            </p:custDataLst>
          </p:nvPr>
        </p:nvSpPr>
        <p:spPr bwMode="auto">
          <a:xfrm>
            <a:off x="0" y="3"/>
            <a:ext cx="8323792" cy="174851"/>
          </a:xfrm>
          <a:prstGeom prst="rect">
            <a:avLst/>
          </a:prstGeom>
          <a:noFill/>
        </p:spPr>
        <p:txBody>
          <a:bodyPr lIns="36000" tIns="0" rIns="36000" bIns="3600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i="1" dirty="0">
                <a:solidFill>
                  <a:srgbClr val="FFFFFF"/>
                </a:solidFill>
                <a:latin typeface="Calibri"/>
              </a:rPr>
              <a:t>Roadmap</a:t>
            </a:r>
          </a:p>
        </p:txBody>
      </p:sp>
      <p:sp>
        <p:nvSpPr>
          <p:cNvPr id="13" name="AcnStamp_ID_10" hidden="1"/>
          <p:cNvSpPr/>
          <p:nvPr userDrawn="1">
            <p:custDataLst>
              <p:tags r:id="rId10"/>
            </p:custDataLst>
          </p:nvPr>
        </p:nvSpPr>
        <p:spPr bwMode="auto">
          <a:xfrm>
            <a:off x="9706504" y="754062"/>
            <a:ext cx="0" cy="0"/>
          </a:xfrm>
          <a:prstGeom prst="leftRightArrow">
            <a:avLst>
              <a:gd name="adj1" fmla="val 0"/>
              <a:gd name="adj2" fmla="val 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5400" rIns="0" bIns="254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eaLnBrk="0" hangingPunct="0"/>
            <a:r>
              <a:rPr lang="en-US" sz="1400" b="1" dirty="0" smtClean="0">
                <a:solidFill>
                  <a:prstClr val="black"/>
                </a:solidFill>
              </a:rPr>
              <a:t>MASTER STAMP</a:t>
            </a:r>
          </a:p>
        </p:txBody>
      </p:sp>
      <p:cxnSp>
        <p:nvCxnSpPr>
          <p:cNvPr id="14" name="AcnStpConnector_ID_13" hidden="1"/>
          <p:cNvCxnSpPr>
            <a:stCxn id="10" idx="2"/>
            <a:endCxn id="10" idx="0"/>
          </p:cNvCxnSpPr>
          <p:nvPr userDrawn="1">
            <p:custDataLst>
              <p:tags r:id="rId11"/>
            </p:custDataLst>
          </p:nvPr>
        </p:nvCxnSpPr>
        <p:spPr bwMode="auto">
          <a:xfrm rot="5400000" flipH="1" flipV="1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AcnStpConnector_ID_14" hidden="1"/>
          <p:cNvCxnSpPr>
            <a:stCxn id="10" idx="4"/>
            <a:endCxn id="10" idx="6"/>
          </p:cNvCxnSpPr>
          <p:nvPr userDrawn="1">
            <p:custDataLst>
              <p:tags r:id="rId12"/>
            </p:custDataLst>
          </p:nvPr>
        </p:nvCxnSpPr>
        <p:spPr bwMode="auto">
          <a:xfrm rot="5400000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575821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80975" indent="-163513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1pPr>
      <a:lvl2pPr marL="360363" indent="-179388" algn="l" defTabSz="358775" rtl="0" eaLnBrk="1" latinLnBrk="0" hangingPunct="1">
        <a:spcBef>
          <a:spcPct val="20000"/>
        </a:spcBef>
        <a:buClr>
          <a:srgbClr val="266234"/>
        </a:buClr>
        <a:buSzPct val="140000"/>
        <a:buFont typeface="Arial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2pPr>
      <a:lvl3pPr marL="536575" indent="-157163" algn="l" defTabSz="457200" rtl="0" eaLnBrk="1" latinLnBrk="0" hangingPunct="1">
        <a:spcBef>
          <a:spcPct val="20000"/>
        </a:spcBef>
        <a:buClr>
          <a:srgbClr val="266234"/>
        </a:buClr>
        <a:buSzPct val="120000"/>
        <a:buFont typeface="Wingdings" charset="2"/>
        <a:buChar char="§"/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715963" indent="-174625" algn="l" defTabSz="457200" rtl="0" eaLnBrk="1" latinLnBrk="0" hangingPunct="1">
        <a:spcBef>
          <a:spcPct val="20000"/>
        </a:spcBef>
        <a:buClr>
          <a:srgbClr val="266234"/>
        </a:buClr>
        <a:buFont typeface="Arial"/>
        <a:buChar char="–"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896938" indent="-176213" algn="l" defTabSz="457200" rtl="0" eaLnBrk="1" latinLnBrk="0" hangingPunct="1">
        <a:spcBef>
          <a:spcPct val="20000"/>
        </a:spcBef>
        <a:buClr>
          <a:srgbClr val="266234"/>
        </a:buClr>
        <a:buSzPct val="50000"/>
        <a:buFont typeface="Wingdings" charset="2"/>
        <a:buChar char="u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43572" y="338997"/>
            <a:ext cx="4515804" cy="545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74158" y="1274553"/>
            <a:ext cx="8957347" cy="499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auto">
          <a:xfrm>
            <a:off x="3793625" y="643892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7310966" y="643892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437E6A53-12D0-4565-8FD2-2E3BCBAC06CA}" type="slidenum">
              <a:rPr 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auto">
          <a:xfrm>
            <a:off x="7191078" y="338997"/>
            <a:ext cx="2431343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black"/>
                </a:solidFill>
              </a:rPr>
              <a:t>Название презентации (задается в настройках footer)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408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AC Banner"/>
          <p:cNvSpPr>
            <a:spLocks noChangeArrowheads="1"/>
          </p:cNvSpPr>
          <p:nvPr userDrawn="1"/>
        </p:nvSpPr>
        <p:spPr bwMode="auto">
          <a:xfrm>
            <a:off x="0" y="0"/>
            <a:ext cx="9906000" cy="58420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AcnSubjectTitle_ID_9" hidden="1"/>
          <p:cNvSpPr txBox="1"/>
          <p:nvPr userDrawn="1">
            <p:custDataLst>
              <p:tags r:id="rId8"/>
            </p:custDataLst>
          </p:nvPr>
        </p:nvSpPr>
        <p:spPr bwMode="auto">
          <a:xfrm>
            <a:off x="194338" y="646113"/>
            <a:ext cx="9512167" cy="2159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latin typeface="Calibri"/>
              </a:rPr>
              <a:t>Subject Title</a:t>
            </a:r>
          </a:p>
        </p:txBody>
      </p:sp>
      <p:sp>
        <p:nvSpPr>
          <p:cNvPr id="11" name="AcnRoadmap_ID_12" hidden="1"/>
          <p:cNvSpPr txBox="1"/>
          <p:nvPr userDrawn="1">
            <p:custDataLst>
              <p:tags r:id="rId9"/>
            </p:custDataLst>
          </p:nvPr>
        </p:nvSpPr>
        <p:spPr bwMode="auto">
          <a:xfrm>
            <a:off x="0" y="3"/>
            <a:ext cx="8323792" cy="174851"/>
          </a:xfrm>
          <a:prstGeom prst="rect">
            <a:avLst/>
          </a:prstGeom>
          <a:noFill/>
        </p:spPr>
        <p:txBody>
          <a:bodyPr lIns="36000" tIns="0" rIns="36000" bIns="3600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i="1" dirty="0">
                <a:solidFill>
                  <a:srgbClr val="FFFFFF"/>
                </a:solidFill>
                <a:latin typeface="Calibri"/>
              </a:rPr>
              <a:t>Roadmap</a:t>
            </a:r>
          </a:p>
        </p:txBody>
      </p:sp>
      <p:sp>
        <p:nvSpPr>
          <p:cNvPr id="13" name="AcnStamp_ID_10" hidden="1"/>
          <p:cNvSpPr/>
          <p:nvPr userDrawn="1">
            <p:custDataLst>
              <p:tags r:id="rId10"/>
            </p:custDataLst>
          </p:nvPr>
        </p:nvSpPr>
        <p:spPr bwMode="auto">
          <a:xfrm>
            <a:off x="9706504" y="754062"/>
            <a:ext cx="0" cy="0"/>
          </a:xfrm>
          <a:prstGeom prst="leftRightArrow">
            <a:avLst>
              <a:gd name="adj1" fmla="val 0"/>
              <a:gd name="adj2" fmla="val 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5400" rIns="0" bIns="254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eaLnBrk="0" hangingPunct="0"/>
            <a:r>
              <a:rPr lang="en-US" sz="1400" b="1" dirty="0" smtClean="0">
                <a:solidFill>
                  <a:prstClr val="black"/>
                </a:solidFill>
              </a:rPr>
              <a:t>MASTER STAMP</a:t>
            </a:r>
          </a:p>
        </p:txBody>
      </p:sp>
      <p:cxnSp>
        <p:nvCxnSpPr>
          <p:cNvPr id="14" name="AcnStpConnector_ID_13" hidden="1"/>
          <p:cNvCxnSpPr>
            <a:stCxn id="10" idx="2"/>
            <a:endCxn id="10" idx="0"/>
          </p:cNvCxnSpPr>
          <p:nvPr userDrawn="1">
            <p:custDataLst>
              <p:tags r:id="rId11"/>
            </p:custDataLst>
          </p:nvPr>
        </p:nvCxnSpPr>
        <p:spPr bwMode="auto">
          <a:xfrm rot="5400000" flipH="1" flipV="1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AcnStpConnector_ID_14" hidden="1"/>
          <p:cNvCxnSpPr>
            <a:stCxn id="10" idx="4"/>
            <a:endCxn id="10" idx="6"/>
          </p:cNvCxnSpPr>
          <p:nvPr userDrawn="1">
            <p:custDataLst>
              <p:tags r:id="rId12"/>
            </p:custDataLst>
          </p:nvPr>
        </p:nvCxnSpPr>
        <p:spPr bwMode="auto">
          <a:xfrm rot="5400000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126324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80975" indent="-163513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1pPr>
      <a:lvl2pPr marL="360363" indent="-179388" algn="l" defTabSz="358775" rtl="0" eaLnBrk="1" latinLnBrk="0" hangingPunct="1">
        <a:spcBef>
          <a:spcPct val="20000"/>
        </a:spcBef>
        <a:buClr>
          <a:srgbClr val="266234"/>
        </a:buClr>
        <a:buSzPct val="140000"/>
        <a:buFont typeface="Arial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2pPr>
      <a:lvl3pPr marL="536575" indent="-157163" algn="l" defTabSz="457200" rtl="0" eaLnBrk="1" latinLnBrk="0" hangingPunct="1">
        <a:spcBef>
          <a:spcPct val="20000"/>
        </a:spcBef>
        <a:buClr>
          <a:srgbClr val="266234"/>
        </a:buClr>
        <a:buSzPct val="120000"/>
        <a:buFont typeface="Wingdings" charset="2"/>
        <a:buChar char="§"/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715963" indent="-174625" algn="l" defTabSz="457200" rtl="0" eaLnBrk="1" latinLnBrk="0" hangingPunct="1">
        <a:spcBef>
          <a:spcPct val="20000"/>
        </a:spcBef>
        <a:buClr>
          <a:srgbClr val="266234"/>
        </a:buClr>
        <a:buFont typeface="Arial"/>
        <a:buChar char="–"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896938" indent="-176213" algn="l" defTabSz="457200" rtl="0" eaLnBrk="1" latinLnBrk="0" hangingPunct="1">
        <a:spcBef>
          <a:spcPct val="20000"/>
        </a:spcBef>
        <a:buClr>
          <a:srgbClr val="266234"/>
        </a:buClr>
        <a:buSzPct val="50000"/>
        <a:buFont typeface="Wingdings" charset="2"/>
        <a:buChar char="u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3572" y="338992"/>
            <a:ext cx="4515804" cy="54529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4158" y="1274553"/>
            <a:ext cx="8957347" cy="499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793625" y="643891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310966" y="643891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6DDF61C1-2457-E848-BB6B-E1DA9A549776}" type="slidenum">
              <a:rPr lang="en-US" smtClean="0">
                <a:solidFill>
                  <a:prstClr val="black"/>
                </a:solidFill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7191072" y="338992"/>
            <a:ext cx="2431343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dirty="0" err="1" smtClean="0">
                <a:solidFill>
                  <a:prstClr val="black"/>
                </a:solidFill>
              </a:rPr>
              <a:t>Название</a:t>
            </a:r>
            <a:r>
              <a:rPr lang="en-US" dirty="0" smtClean="0">
                <a:solidFill>
                  <a:prstClr val="black"/>
                </a:solidFill>
              </a:rPr>
              <a:t> </a:t>
            </a:r>
            <a:r>
              <a:rPr lang="en-US" dirty="0" err="1" smtClean="0">
                <a:solidFill>
                  <a:prstClr val="black"/>
                </a:solidFill>
              </a:rPr>
              <a:t>презентации</a:t>
            </a:r>
            <a:r>
              <a:rPr lang="en-US" dirty="0" smtClean="0">
                <a:solidFill>
                  <a:prstClr val="black"/>
                </a:solidFill>
              </a:rPr>
              <a:t> (</a:t>
            </a:r>
            <a:r>
              <a:rPr lang="en-US" dirty="0" err="1" smtClean="0">
                <a:solidFill>
                  <a:prstClr val="black"/>
                </a:solidFill>
              </a:rPr>
              <a:t>задается</a:t>
            </a:r>
            <a:r>
              <a:rPr lang="en-US" dirty="0" smtClean="0">
                <a:solidFill>
                  <a:prstClr val="black"/>
                </a:solidFill>
              </a:rPr>
              <a:t> в </a:t>
            </a:r>
            <a:r>
              <a:rPr lang="en-US" dirty="0" err="1" smtClean="0">
                <a:solidFill>
                  <a:prstClr val="black"/>
                </a:solidFill>
              </a:rPr>
              <a:t>настройках</a:t>
            </a:r>
            <a:r>
              <a:rPr lang="en-US" dirty="0" smtClean="0">
                <a:solidFill>
                  <a:prstClr val="black"/>
                </a:solidFill>
              </a:rPr>
              <a:t> footer)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11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80975" indent="-163513" algn="l" defTabSz="457200" rtl="0" eaLnBrk="1" latinLnBrk="0" hangingPunct="1">
        <a:spcBef>
          <a:spcPct val="20000"/>
        </a:spcBef>
        <a:buSzPct val="100000"/>
        <a:buFontTx/>
        <a:buBlip>
          <a:blip r:embed="rId6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1pPr>
      <a:lvl2pPr marL="360363" indent="-179388" algn="l" defTabSz="358775" rtl="0" eaLnBrk="1" latinLnBrk="0" hangingPunct="1">
        <a:spcBef>
          <a:spcPct val="20000"/>
        </a:spcBef>
        <a:buClr>
          <a:srgbClr val="266234"/>
        </a:buClr>
        <a:buSzPct val="140000"/>
        <a:buFont typeface="Arial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2pPr>
      <a:lvl3pPr marL="536575" indent="-157163" algn="l" defTabSz="457200" rtl="0" eaLnBrk="1" latinLnBrk="0" hangingPunct="1">
        <a:spcBef>
          <a:spcPct val="20000"/>
        </a:spcBef>
        <a:buClr>
          <a:srgbClr val="266234"/>
        </a:buClr>
        <a:buSzPct val="120000"/>
        <a:buFont typeface="Wingdings" charset="2"/>
        <a:buChar char="§"/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715963" indent="-174625" algn="l" defTabSz="457200" rtl="0" eaLnBrk="1" latinLnBrk="0" hangingPunct="1">
        <a:spcBef>
          <a:spcPct val="20000"/>
        </a:spcBef>
        <a:buClr>
          <a:srgbClr val="266234"/>
        </a:buClr>
        <a:buFont typeface="Arial"/>
        <a:buChar char="–"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896938" indent="-176213" algn="l" defTabSz="457200" rtl="0" eaLnBrk="1" latinLnBrk="0" hangingPunct="1">
        <a:spcBef>
          <a:spcPct val="20000"/>
        </a:spcBef>
        <a:buClr>
          <a:srgbClr val="266234"/>
        </a:buClr>
        <a:buSzPct val="50000"/>
        <a:buFont typeface="Wingdings" charset="2"/>
        <a:buChar char="u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43214" y="339725"/>
            <a:ext cx="4516173" cy="544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Заголовок слайда</a:t>
            </a:r>
            <a:endParaRPr lang="en-US" altLang="ru-RU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74158" y="1274768"/>
            <a:ext cx="8956675" cy="499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Click to edit Master text styles</a:t>
            </a:r>
          </a:p>
          <a:p>
            <a:pPr lvl="1"/>
            <a:r>
              <a:rPr lang="ru-RU" altLang="ru-RU" smtClean="0"/>
              <a:t>Second level</a:t>
            </a:r>
          </a:p>
          <a:p>
            <a:pPr lvl="2"/>
            <a:r>
              <a:rPr lang="ru-RU" altLang="ru-RU" smtClean="0"/>
              <a:t>Third level</a:t>
            </a:r>
          </a:p>
          <a:p>
            <a:pPr lvl="3"/>
            <a:r>
              <a:rPr lang="ru-RU" altLang="ru-RU" smtClean="0"/>
              <a:t>Fourth level</a:t>
            </a:r>
          </a:p>
          <a:p>
            <a:pPr lvl="4"/>
            <a:r>
              <a:rPr lang="ru-RU" altLang="ru-RU" smtClean="0"/>
              <a:t>Fifth level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793860" y="64389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457200" fontAlgn="auto">
              <a:spcBef>
                <a:spcPts val="0"/>
              </a:spcBef>
              <a:spcAft>
                <a:spcPts val="0"/>
              </a:spcAft>
              <a:defRPr sz="800">
                <a:solidFill>
                  <a:prstClr val="black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310835" y="64389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457200" fontAlgn="auto">
              <a:spcBef>
                <a:spcPts val="0"/>
              </a:spcBef>
              <a:spcAft>
                <a:spcPts val="0"/>
              </a:spcAft>
              <a:defRPr sz="800">
                <a:solidFill>
                  <a:prstClr val="black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EF9181D-FA39-48E8-8F2B-18B90E3C69C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Date Placeholder 3"/>
          <p:cNvSpPr txBox="1">
            <a:spLocks/>
          </p:cNvSpPr>
          <p:nvPr/>
        </p:nvSpPr>
        <p:spPr>
          <a:xfrm>
            <a:off x="643202" y="6438951"/>
            <a:ext cx="2311400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7190453" y="339725"/>
            <a:ext cx="2431785" cy="544513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 defTabSz="457200" fontAlgn="auto">
              <a:spcBef>
                <a:spcPts val="0"/>
              </a:spcBef>
              <a:spcAft>
                <a:spcPts val="0"/>
              </a:spcAft>
              <a:defRPr sz="800" b="0" i="0">
                <a:solidFill>
                  <a:prstClr val="black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1011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  <p:sldLayoutId id="214748390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1600" b="1" kern="1200">
          <a:solidFill>
            <a:schemeClr val="tx1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80975" indent="-163513" algn="l" defTabSz="457200" rtl="0" eaLnBrk="0" fontAlgn="base" hangingPunct="0">
        <a:spcBef>
          <a:spcPct val="20000"/>
        </a:spcBef>
        <a:spcAft>
          <a:spcPct val="0"/>
        </a:spcAft>
        <a:buSzPct val="100000"/>
        <a:buBlip>
          <a:blip r:embed="rId8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1pPr>
      <a:lvl2pPr marL="360363" indent="-179388" algn="l" defTabSz="358775" rtl="0" eaLnBrk="0" fontAlgn="base" hangingPunct="0">
        <a:spcBef>
          <a:spcPct val="20000"/>
        </a:spcBef>
        <a:spcAft>
          <a:spcPct val="0"/>
        </a:spcAft>
        <a:buClr>
          <a:srgbClr val="266234"/>
        </a:buClr>
        <a:buSzPct val="140000"/>
        <a:buFont typeface="Arial" charset="0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2pPr>
      <a:lvl3pPr marL="536575" indent="-157163" algn="l" defTabSz="457200" rtl="0" eaLnBrk="0" fontAlgn="base" hangingPunct="0">
        <a:spcBef>
          <a:spcPct val="20000"/>
        </a:spcBef>
        <a:spcAft>
          <a:spcPct val="0"/>
        </a:spcAft>
        <a:buClr>
          <a:srgbClr val="266234"/>
        </a:buClr>
        <a:buSzPct val="120000"/>
        <a:buFont typeface="Wingdings" pitchFamily="2" charset="2"/>
        <a:buChar char="§"/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715963" indent="-174625" algn="l" defTabSz="457200" rtl="0" eaLnBrk="0" fontAlgn="base" hangingPunct="0">
        <a:spcBef>
          <a:spcPct val="20000"/>
        </a:spcBef>
        <a:spcAft>
          <a:spcPct val="0"/>
        </a:spcAft>
        <a:buClr>
          <a:srgbClr val="266234"/>
        </a:buClr>
        <a:buFont typeface="Arial" charset="0"/>
        <a:buChar char="–"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896938" indent="-176213" algn="l" defTabSz="457200" rtl="0" eaLnBrk="0" fontAlgn="base" hangingPunct="0">
        <a:spcBef>
          <a:spcPct val="20000"/>
        </a:spcBef>
        <a:spcAft>
          <a:spcPct val="0"/>
        </a:spcAft>
        <a:buClr>
          <a:srgbClr val="266234"/>
        </a:buClr>
        <a:buSzPct val="50000"/>
        <a:buFont typeface="Wingdings" pitchFamily="2" charset="2"/>
        <a:buChar char="u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3572" y="338997"/>
            <a:ext cx="4515804" cy="545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4158" y="1274553"/>
            <a:ext cx="8957347" cy="499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793625" y="643892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310966" y="643892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7191076" y="338997"/>
            <a:ext cx="2431343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Название презентации (задается в настройках footer)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134201804"/>
              </p:ext>
            </p:extLst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552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AC Banner"/>
          <p:cNvSpPr>
            <a:spLocks noChangeArrowheads="1"/>
          </p:cNvSpPr>
          <p:nvPr userDrawn="1"/>
        </p:nvSpPr>
        <p:spPr bwMode="gray">
          <a:xfrm>
            <a:off x="0" y="0"/>
            <a:ext cx="9906000" cy="58420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AcnSubjectTitle_ID_9" hidden="1"/>
          <p:cNvSpPr txBox="1"/>
          <p:nvPr userDrawn="1">
            <p:custDataLst>
              <p:tags r:id="rId34"/>
            </p:custDataLst>
          </p:nvPr>
        </p:nvSpPr>
        <p:spPr bwMode="gray">
          <a:xfrm>
            <a:off x="194338" y="646113"/>
            <a:ext cx="9512167" cy="2159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prstClr val="black"/>
                </a:solidFill>
              </a:rPr>
              <a:t>Subject Title</a:t>
            </a:r>
          </a:p>
        </p:txBody>
      </p:sp>
      <p:sp>
        <p:nvSpPr>
          <p:cNvPr id="11" name="AcnRoadmap_ID_12" hidden="1"/>
          <p:cNvSpPr txBox="1"/>
          <p:nvPr userDrawn="1">
            <p:custDataLst>
              <p:tags r:id="rId35"/>
            </p:custDataLst>
          </p:nvPr>
        </p:nvSpPr>
        <p:spPr bwMode="gray">
          <a:xfrm>
            <a:off x="0" y="3"/>
            <a:ext cx="8323792" cy="174851"/>
          </a:xfrm>
          <a:prstGeom prst="rect">
            <a:avLst/>
          </a:prstGeom>
          <a:noFill/>
        </p:spPr>
        <p:txBody>
          <a:bodyPr lIns="36000" tIns="0" rIns="36000" bIns="36000">
            <a:spAutoFit/>
          </a:bodyPr>
          <a:lstStyle/>
          <a:p>
            <a:pPr>
              <a:defRPr/>
            </a:pPr>
            <a:r>
              <a:rPr lang="en-US" sz="900" i="1" dirty="0">
                <a:solidFill>
                  <a:srgbClr val="FFFFFF"/>
                </a:solidFill>
              </a:rPr>
              <a:t>Roadmap</a:t>
            </a:r>
          </a:p>
        </p:txBody>
      </p:sp>
      <p:sp>
        <p:nvSpPr>
          <p:cNvPr id="13" name="AcnStamp_ID_10" hidden="1"/>
          <p:cNvSpPr/>
          <p:nvPr userDrawn="1">
            <p:custDataLst>
              <p:tags r:id="rId36"/>
            </p:custDataLst>
          </p:nvPr>
        </p:nvSpPr>
        <p:spPr bwMode="gray">
          <a:xfrm>
            <a:off x="9706504" y="754062"/>
            <a:ext cx="0" cy="0"/>
          </a:xfrm>
          <a:prstGeom prst="leftRightArrow">
            <a:avLst>
              <a:gd name="adj1" fmla="val 0"/>
              <a:gd name="adj2" fmla="val 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5400" rIns="0" bIns="254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eaLnBrk="0" hangingPunct="0"/>
            <a:r>
              <a:rPr lang="en-US" sz="1400" b="1" dirty="0" smtClean="0">
                <a:solidFill>
                  <a:prstClr val="black"/>
                </a:solidFill>
              </a:rPr>
              <a:t>MASTER STAMP</a:t>
            </a:r>
          </a:p>
        </p:txBody>
      </p:sp>
      <p:cxnSp>
        <p:nvCxnSpPr>
          <p:cNvPr id="14" name="AcnStpConnector_ID_13" hidden="1"/>
          <p:cNvCxnSpPr>
            <a:stCxn id="10" idx="2"/>
            <a:endCxn id="10" idx="0"/>
          </p:cNvCxnSpPr>
          <p:nvPr userDrawn="1">
            <p:custDataLst>
              <p:tags r:id="rId37"/>
            </p:custDataLst>
          </p:nvPr>
        </p:nvCxnSpPr>
        <p:spPr bwMode="gray">
          <a:xfrm rot="5400000" flipH="1" flipV="1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AcnStpConnector_ID_14" hidden="1"/>
          <p:cNvCxnSpPr>
            <a:stCxn id="10" idx="4"/>
            <a:endCxn id="10" idx="6"/>
          </p:cNvCxnSpPr>
          <p:nvPr userDrawn="1">
            <p:custDataLst>
              <p:tags r:id="rId38"/>
            </p:custDataLst>
          </p:nvPr>
        </p:nvCxnSpPr>
        <p:spPr bwMode="gray">
          <a:xfrm rot="5400000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302282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5" r:id="rId1"/>
    <p:sldLayoutId id="2147483976" r:id="rId2"/>
    <p:sldLayoutId id="2147483977" r:id="rId3"/>
    <p:sldLayoutId id="2147483978" r:id="rId4"/>
    <p:sldLayoutId id="2147483979" r:id="rId5"/>
    <p:sldLayoutId id="2147483980" r:id="rId6"/>
    <p:sldLayoutId id="2147483981" r:id="rId7"/>
    <p:sldLayoutId id="2147483982" r:id="rId8"/>
    <p:sldLayoutId id="2147483983" r:id="rId9"/>
    <p:sldLayoutId id="2147483984" r:id="rId10"/>
    <p:sldLayoutId id="2147483985" r:id="rId11"/>
    <p:sldLayoutId id="2147483986" r:id="rId12"/>
    <p:sldLayoutId id="2147483987" r:id="rId13"/>
    <p:sldLayoutId id="2147483988" r:id="rId14"/>
    <p:sldLayoutId id="2147483989" r:id="rId15"/>
    <p:sldLayoutId id="2147483990" r:id="rId16"/>
    <p:sldLayoutId id="2147483991" r:id="rId17"/>
    <p:sldLayoutId id="2147483992" r:id="rId18"/>
    <p:sldLayoutId id="2147483993" r:id="rId19"/>
    <p:sldLayoutId id="2147483994" r:id="rId20"/>
    <p:sldLayoutId id="2147483995" r:id="rId21"/>
    <p:sldLayoutId id="2147483996" r:id="rId22"/>
    <p:sldLayoutId id="2147483997" r:id="rId23"/>
    <p:sldLayoutId id="2147483998" r:id="rId24"/>
    <p:sldLayoutId id="2147483999" r:id="rId25"/>
    <p:sldLayoutId id="2147484000" r:id="rId26"/>
    <p:sldLayoutId id="2147484001" r:id="rId27"/>
    <p:sldLayoutId id="2147484002" r:id="rId28"/>
    <p:sldLayoutId id="2147484003" r:id="rId29"/>
    <p:sldLayoutId id="2147484004" r:id="rId30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80975" indent="-163513" algn="l" defTabSz="457200" rtl="0" eaLnBrk="1" latinLnBrk="0" hangingPunct="1">
        <a:spcBef>
          <a:spcPct val="20000"/>
        </a:spcBef>
        <a:buSzPct val="100000"/>
        <a:buFontTx/>
        <a:buBlip>
          <a:blip r:embed="rId41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1pPr>
      <a:lvl2pPr marL="360363" indent="-179388" algn="l" defTabSz="358775" rtl="0" eaLnBrk="1" latinLnBrk="0" hangingPunct="1">
        <a:spcBef>
          <a:spcPct val="20000"/>
        </a:spcBef>
        <a:buClr>
          <a:srgbClr val="266234"/>
        </a:buClr>
        <a:buSzPct val="140000"/>
        <a:buFont typeface="Arial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2pPr>
      <a:lvl3pPr marL="536575" indent="-157163" algn="l" defTabSz="457200" rtl="0" eaLnBrk="1" latinLnBrk="0" hangingPunct="1">
        <a:spcBef>
          <a:spcPct val="20000"/>
        </a:spcBef>
        <a:buClr>
          <a:srgbClr val="266234"/>
        </a:buClr>
        <a:buSzPct val="120000"/>
        <a:buFont typeface="Wingdings" charset="2"/>
        <a:buChar char="§"/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715963" indent="-174625" algn="l" defTabSz="457200" rtl="0" eaLnBrk="1" latinLnBrk="0" hangingPunct="1">
        <a:spcBef>
          <a:spcPct val="20000"/>
        </a:spcBef>
        <a:buClr>
          <a:srgbClr val="266234"/>
        </a:buClr>
        <a:buFont typeface="Arial"/>
        <a:buChar char="–"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896938" indent="-176213" algn="l" defTabSz="457200" rtl="0" eaLnBrk="1" latinLnBrk="0" hangingPunct="1">
        <a:spcBef>
          <a:spcPct val="20000"/>
        </a:spcBef>
        <a:buClr>
          <a:srgbClr val="266234"/>
        </a:buClr>
        <a:buSzPct val="50000"/>
        <a:buFont typeface="Wingdings" charset="2"/>
        <a:buChar char="u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jpe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12" Type="http://schemas.openxmlformats.org/officeDocument/2006/relationships/image" Target="../media/image23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7.jpeg"/><Relationship Id="rId11" Type="http://schemas.openxmlformats.org/officeDocument/2006/relationships/image" Target="../media/image22.jpeg"/><Relationship Id="rId5" Type="http://schemas.openxmlformats.org/officeDocument/2006/relationships/image" Target="../media/image16.gif"/><Relationship Id="rId10" Type="http://schemas.openxmlformats.org/officeDocument/2006/relationships/image" Target="../media/image21.jpeg"/><Relationship Id="rId4" Type="http://schemas.openxmlformats.org/officeDocument/2006/relationships/image" Target="../media/image15.png"/><Relationship Id="rId9" Type="http://schemas.openxmlformats.org/officeDocument/2006/relationships/image" Target="../media/image20.jpeg"/><Relationship Id="rId1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0"/>
          <p:cNvSpPr txBox="1">
            <a:spLocks/>
          </p:cNvSpPr>
          <p:nvPr/>
        </p:nvSpPr>
        <p:spPr>
          <a:xfrm>
            <a:off x="516270" y="1728553"/>
            <a:ext cx="9569125" cy="195762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 cap="none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dirty="0" smtClean="0">
                <a:solidFill>
                  <a:srgbClr val="008000"/>
                </a:solidFill>
              </a:rPr>
              <a:t>Новый механизм государственной поддержки </a:t>
            </a:r>
          </a:p>
          <a:p>
            <a:r>
              <a:rPr lang="ru-RU" dirty="0" smtClean="0">
                <a:solidFill>
                  <a:srgbClr val="008000"/>
                </a:solidFill>
              </a:rPr>
              <a:t>предприятий АПК   </a:t>
            </a:r>
          </a:p>
          <a:p>
            <a:endParaRPr lang="ru-RU" dirty="0" smtClean="0">
              <a:solidFill>
                <a:srgbClr val="008000"/>
              </a:solidFill>
            </a:endParaRPr>
          </a:p>
          <a:p>
            <a:r>
              <a:rPr lang="ru-RU" dirty="0" smtClean="0">
                <a:solidFill>
                  <a:srgbClr val="008000"/>
                </a:solidFill>
              </a:rPr>
              <a:t>«Льготное краткосрочное и инвестиционное                  кредитование по ставке не более 5% годовых»</a:t>
            </a:r>
            <a:endParaRPr lang="ru-RU" dirty="0">
              <a:solidFill>
                <a:srgbClr val="008000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/>
        </p:nvSpPr>
        <p:spPr>
          <a:xfrm>
            <a:off x="592469" y="3578654"/>
            <a:ext cx="8915400" cy="63341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defRPr/>
            </a:pPr>
            <a:r>
              <a:rPr lang="ru-RU" sz="1600" b="1" spc="-30" dirty="0">
                <a:solidFill>
                  <a:schemeClr val="bg1"/>
                </a:solidFill>
                <a:cs typeface="Arial" pitchFamily="34" charset="0"/>
              </a:rPr>
              <a:t>Материалы для </a:t>
            </a:r>
            <a:r>
              <a:rPr lang="ru-RU" sz="1600" b="1" spc="-30" dirty="0" smtClean="0">
                <a:solidFill>
                  <a:schemeClr val="bg1"/>
                </a:solidFill>
                <a:cs typeface="Arial" pitchFamily="34" charset="0"/>
              </a:rPr>
              <a:t>заседания Правления Банка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9" name="TextBox 3"/>
          <p:cNvSpPr txBox="1">
            <a:spLocks noChangeArrowheads="1"/>
          </p:cNvSpPr>
          <p:nvPr/>
        </p:nvSpPr>
        <p:spPr bwMode="auto">
          <a:xfrm>
            <a:off x="592469" y="5154710"/>
            <a:ext cx="918970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ru-RU" sz="1400" dirty="0" smtClean="0"/>
              <a:t>Департамент поддержки корпоративного бизнеса, </a:t>
            </a:r>
            <a:r>
              <a:rPr lang="ru-RU" sz="1400" dirty="0" smtClean="0"/>
              <a:t>январь 2017 </a:t>
            </a:r>
            <a:r>
              <a:rPr lang="ru-RU" sz="1400" dirty="0"/>
              <a:t>г.</a:t>
            </a:r>
          </a:p>
        </p:txBody>
      </p:sp>
      <p:sp>
        <p:nvSpPr>
          <p:cNvPr id="10" name="Title 10"/>
          <p:cNvSpPr txBox="1">
            <a:spLocks/>
          </p:cNvSpPr>
          <p:nvPr/>
        </p:nvSpPr>
        <p:spPr>
          <a:xfrm>
            <a:off x="516270" y="623654"/>
            <a:ext cx="4046206" cy="42157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 cap="none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1450608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333375" y="516732"/>
            <a:ext cx="584291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6600"/>
                </a:solidFill>
              </a:rPr>
              <a:t>Направления использования льготных краткосрочных кредитов</a:t>
            </a:r>
            <a:endParaRPr lang="en-US" sz="2000" b="1" dirty="0">
              <a:solidFill>
                <a:srgbClr val="006600"/>
              </a:solidFill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711009"/>
              </p:ext>
            </p:extLst>
          </p:nvPr>
        </p:nvGraphicFramePr>
        <p:xfrm>
          <a:off x="143693" y="1266851"/>
          <a:ext cx="9679576" cy="51206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20939"/>
                <a:gridCol w="2352879"/>
                <a:gridCol w="2352879"/>
                <a:gridCol w="2352879"/>
              </a:tblGrid>
              <a:tr h="287629">
                <a:tc gridSpan="4"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1 года</a:t>
                      </a: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1074"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тениеводство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ивотноводство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олочное скотоводство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вичная и последующая переработка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05216"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ru-RU" sz="115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обретение:</a:t>
                      </a:r>
                    </a:p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ГСМ</a:t>
                      </a:r>
                    </a:p>
                    <a:p>
                      <a:pPr marL="0" algn="l" defTabSz="457200" rtl="0" eaLnBrk="1" latinLnBrk="0" hangingPunct="1"/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химических и биологических средств защиты растений</a:t>
                      </a:r>
                    </a:p>
                    <a:p>
                      <a:pPr marL="0" algn="l" defTabSz="457200" rtl="0" eaLnBrk="1" latinLnBrk="0" hangingPunct="1"/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удобрений</a:t>
                      </a:r>
                    </a:p>
                    <a:p>
                      <a:pPr marL="0" algn="l" defTabSz="457200" rtl="0" eaLnBrk="1" latinLnBrk="0" hangingPunct="1"/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семян (кроме элитных)</a:t>
                      </a:r>
                    </a:p>
                    <a:p>
                      <a:pPr marL="0" algn="l" defTabSz="457200" rtl="0" eaLnBrk="1" latinLnBrk="0" hangingPunct="1"/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регуляторов роста и посадочного материала</a:t>
                      </a:r>
                    </a:p>
                    <a:p>
                      <a:pPr marL="0" algn="l" defTabSz="457200" rtl="0" eaLnBrk="1" latinLnBrk="0" hangingPunct="1"/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поверхностно-активных веществ</a:t>
                      </a:r>
                    </a:p>
                    <a:p>
                      <a:pPr marL="171450" indent="-171450" algn="l" defTabSz="457200" rtl="0" eaLnBrk="1" latinLnBrk="0" hangingPunct="1">
                        <a:buFontTx/>
                        <a:buChar char="-"/>
                      </a:pP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электроэнергии и природного газа (включая его транспортировку), используемых для выращивания сельскохозяйственных культур в защищенном грунте и на орошаемых землях</a:t>
                      </a:r>
                    </a:p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</a:t>
                      </a: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пасных частей и материалов для ремонта сельхозтехники, оборудования, грузовых автомобилей и тракторов; материалов, используемых для капельных систем орошения</a:t>
                      </a:r>
                    </a:p>
                    <a:p>
                      <a:pPr marL="0" algn="l" defTabSz="457200" rtl="0" eaLnBrk="1" latinLnBrk="0" hangingPunct="1"/>
                      <a:r>
                        <a:rPr lang="ru-RU" sz="115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плату</a:t>
                      </a: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траховых взносов при страховании будущего урожая</a:t>
                      </a:r>
                      <a:endParaRPr lang="ru-RU" sz="11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ru-RU" sz="115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обретение:</a:t>
                      </a:r>
                    </a:p>
                    <a:p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молодняка сельхозживотных</a:t>
                      </a:r>
                    </a:p>
                    <a:p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кормов</a:t>
                      </a:r>
                    </a:p>
                    <a:p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ветеринарных препаратов</a:t>
                      </a:r>
                    </a:p>
                    <a:p>
                      <a:r>
                        <a:rPr lang="ru-RU" sz="115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плату </a:t>
                      </a: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ых взносов при страховании сельскохозяйственных </a:t>
                      </a: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ивотных (кроме крупного рогатого скота молочных пород)</a:t>
                      </a:r>
                      <a:endParaRPr lang="ru-RU" sz="11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ru-RU" sz="115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обретение</a:t>
                      </a: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приобретение молока-сырья (код ОКП 98 1912, 98 3912, 98 5912) для производства твердых и полутвердых сыров, масла сливочного и сухих молочных продуктов</a:t>
                      </a:r>
                    </a:p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олодняка КРС молочных пород</a:t>
                      </a:r>
                    </a:p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кормов</a:t>
                      </a:r>
                    </a:p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ветеринарных препаратов</a:t>
                      </a:r>
                    </a:p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запасных частей и материалов для ремонта сельхозтехники, оборудования, грузовых автомобилей и тракторов</a:t>
                      </a:r>
                    </a:p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ru-RU" sz="115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плату</a:t>
                      </a: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траховых взносов при страховании </a:t>
                      </a: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С молочных пород</a:t>
                      </a:r>
                      <a:endParaRPr lang="ru-RU" sz="11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15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купка:</a:t>
                      </a:r>
                    </a:p>
                    <a:p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сахарной свеклы</a:t>
                      </a:r>
                    </a:p>
                    <a:p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риса-сырца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зерна для мукомольно-крупяной, хлебопекарной, </a:t>
                      </a:r>
                      <a:r>
                        <a:rPr lang="ru-RU" sz="115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ахмало</a:t>
                      </a: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паточной, масложировой и комбикормовой отраслей промышленности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15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льхозсырья для </a:t>
                      </a: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изводства</a:t>
                      </a:r>
                      <a:r>
                        <a:rPr lang="ru-RU" sz="115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тского </a:t>
                      </a: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итания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овощей, бахчевых культур, ягод, картофеля, винограда и фруктов для плодоовощной консервной отрасли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ru-RU" sz="115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сельскохозяйственных животных для убоя</a:t>
                      </a:r>
                      <a:endParaRPr lang="ru-RU" sz="11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6821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333375" y="516732"/>
            <a:ext cx="584291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6600"/>
                </a:solidFill>
              </a:rPr>
              <a:t>Направления использования льготных инвестиционных </a:t>
            </a:r>
            <a:r>
              <a:rPr lang="ru-RU" sz="2000" b="1" dirty="0" smtClean="0">
                <a:solidFill>
                  <a:srgbClr val="006600"/>
                </a:solidFill>
              </a:rPr>
              <a:t>кредитов (1/2)</a:t>
            </a:r>
            <a:endParaRPr lang="en-US" sz="2000" b="1" dirty="0">
              <a:solidFill>
                <a:srgbClr val="006600"/>
              </a:solidFill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8986627"/>
              </p:ext>
            </p:extLst>
          </p:nvPr>
        </p:nvGraphicFramePr>
        <p:xfrm>
          <a:off x="143693" y="1277101"/>
          <a:ext cx="9762306" cy="50707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32807"/>
                <a:gridCol w="4648200"/>
                <a:gridCol w="2781299"/>
              </a:tblGrid>
              <a:tr h="250074">
                <a:tc gridSpan="3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/х</a:t>
                      </a:r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товаропроизводители, осуществляющие п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рвичную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следующую переработку</a:t>
                      </a:r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364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2 до 5 ле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2 до 8 лет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2 до 15 лет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1266"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обретение:</a:t>
                      </a:r>
                    </a:p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сельхозтехники и оборудования для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тениеводства (включая оборудование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для сахарной и </a:t>
                      </a:r>
                      <a:r>
                        <a:rPr lang="ru-RU" sz="100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ахмало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паточной промышленности)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льхозтехники и оборудования для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ивотноводства (включая молочное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мясное скотоводство)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оборудования для перевода грузовых автомобилей, тракторов и сельхозмашин на газомоторное топливо</a:t>
                      </a:r>
                    </a:p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изделий автомобильной промышленности, использующие природный газ для растениеводства и животноводства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ительство, реконструкция, модернизация:</a:t>
                      </a:r>
                      <a:endParaRPr lang="ru-RU" sz="1000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Tx/>
                        <a:buNone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Хранилищ сахарной свеклы, картофеля, овощей и фруктов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пличных комплексов, объектов малой энергетики (котельной), предприятий мукомольно-крупяной, хлебопекарной и масложировой промышленности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харных заводов, мощностей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 переработке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одовоовощной,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ягодной продукции, винограда, картофеля,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ъектов по производству винодельческой продукции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мплексов (ферм)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ъектов животноводства</a:t>
                      </a:r>
                      <a:r>
                        <a:rPr lang="ru-RU" sz="1000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ясохладобоен, пунктов по приемке, переработке с/х животных и молока, предприятий по производству цельномолочной продукции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сыров и сливочного масла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цехов и участков по переработке и сушке сыворотки, оптово-распределительных центров, селекционно-семеноводческих центров, объектов (цехов) по производству продуктов детского питания</a:t>
                      </a:r>
                      <a:endParaRPr lang="ru-RU" sz="10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ительство:</a:t>
                      </a:r>
                      <a:endParaRPr lang="ru-RU" sz="1000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ъектов по переработке льна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льноволокна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мплексов по подготовке семян с/х растений, заводов по производству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ражированных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емян сахарной свеклы, объектов по глубокой переработке высокопротеиновых с/х культур, мощностей для подработки, хранения и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евалки зерновых и масличных культур,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кладку и уход за многолетними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саждениями</a:t>
                      </a:r>
                    </a:p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ительство 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 реконструкцию</a:t>
                      </a:r>
                      <a:endParaRPr lang="ru-RU" sz="1000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вивочных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мплексов для многолетних насаждений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в </a:t>
                      </a:r>
                      <a:r>
                        <a:rPr lang="ru-RU" sz="100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.ч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виноградников)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холодильников для хранения столового винограда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мбикормовых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едприятий и цехов</a:t>
                      </a:r>
                      <a:endParaRPr lang="ru-RU" sz="10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конструкцию и модернизацию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ахарных заводов</a:t>
                      </a:r>
                      <a:endParaRPr lang="ru-RU" sz="1000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здание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логистических центров в растениеводстве и животноводстве (за исключением молочного и мясного скотоводства)</a:t>
                      </a:r>
                      <a:endParaRPr lang="ru-RU" sz="1000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обретение</a:t>
                      </a:r>
                      <a:endParaRPr lang="ru-RU" sz="1000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племенной продукции, технологического оборудования для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лекционно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семеноводческих центров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лабораторного оборудования и технических средств для селекционно-семеноводческих центров</a:t>
                      </a:r>
                      <a:endParaRPr lang="ru-RU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обретение: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племенной продукции КРС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товарного ремонтного молодняка КРС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еменной продукции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технологического оборудования для селекционно-генетических центров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лабораторного оборудования и тех. средств для селекционно-генетических центров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автоматизированных программ управления селекционно-племенной работы</a:t>
                      </a:r>
                    </a:p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ительство, реконструкцию и модернизацию: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мплексов (ферм), объектов для мясного скотоводства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ясохладобоен, пунктов по приемке, первичной переработке сельхозживотных</a:t>
                      </a:r>
                    </a:p>
                    <a:p>
                      <a:pPr marL="0" algn="l" defTabSz="4572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комплексов объектов животноводства, пунктов по приемке, первичной переработке молока</a:t>
                      </a:r>
                    </a:p>
                    <a:p>
                      <a:pPr marL="0" algn="l" defTabSz="4572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предприятий по производству цельномолочной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укции, сыров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сливочного масла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цехов и участков по переработке и сушке сыворотки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заводов, цехов и участков по производству сухого молока</a:t>
                      </a:r>
                    </a:p>
                    <a:p>
                      <a:pPr marL="0" algn="l" defTabSz="4572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лекционно-генетических центров</a:t>
                      </a:r>
                    </a:p>
                    <a:p>
                      <a:pPr marL="0" algn="l" defTabSz="4572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ительство и реконструкцию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комбикормовых предприятий и цехов.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9644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333375" y="516732"/>
            <a:ext cx="584291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6600"/>
                </a:solidFill>
              </a:rPr>
              <a:t>Направления использования льготных инвестиционных </a:t>
            </a:r>
            <a:r>
              <a:rPr lang="ru-RU" sz="2000" b="1" dirty="0" smtClean="0">
                <a:solidFill>
                  <a:srgbClr val="006600"/>
                </a:solidFill>
              </a:rPr>
              <a:t>кредитов (2/2)</a:t>
            </a:r>
            <a:endParaRPr lang="en-US" sz="2000" b="1" dirty="0">
              <a:solidFill>
                <a:srgbClr val="006600"/>
              </a:solidFill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4035951"/>
              </p:ext>
            </p:extLst>
          </p:nvPr>
        </p:nvGraphicFramePr>
        <p:xfrm>
          <a:off x="123825" y="1277101"/>
          <a:ext cx="9696450" cy="490038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905500"/>
                <a:gridCol w="3790950"/>
              </a:tblGrid>
              <a:tr h="250074">
                <a:tc gridSpan="2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рганизации и ИП</a:t>
                      </a:r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осуществляющие п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рвичную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следующую переработку</a:t>
                      </a:r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364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2 до 8 лет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2 до 15 лет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1266">
                <a:tc>
                  <a:txBody>
                    <a:bodyPr/>
                    <a:lstStyle/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ительство:</a:t>
                      </a:r>
                      <a:endParaRPr lang="ru-RU" sz="1000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Tx/>
                        <a:buNone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Хранилищ сахарной свеклы, картофеля, овощей и фруктов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пличных комплексов, объектов малой энергетики (котельной), предприятий мукомольно-крупяной, хлебопекарной и масложировой промышленности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харных заводов, мощностей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 переработке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одовоовощной,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ягодной продукции, винограда, картофеля,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комплексов (ферм)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ъектов животноводства</a:t>
                      </a:r>
                      <a:r>
                        <a:rPr lang="ru-RU" sz="1000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ясохладобоен, пунктов по приемке, переработке с/х животных и молока, предприятий по производству цельномолочной продукции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сыров и сливочного масла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цехов и участков по переработке и сушке сыворотки, оптово-распределительных центров, селекционно-семеноводческих центров, объектов (цехов) по производству продуктов детского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итания, объектов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 переработке льна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льноволокна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мплексов по подготовке семян с/х растений, заводов по производству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ражированных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емян сахарной свеклы, объектов по глубокой переработке высокопротеиновых с/х культур, мощностей для подработки, хранения и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евалки зерновых и масличных культур,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кладку и уход за многолетними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саждениями</a:t>
                      </a:r>
                    </a:p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ительство 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 реконструкцию</a:t>
                      </a:r>
                      <a:endParaRPr lang="ru-RU" sz="1000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вивочных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мплексов для многолетних насаждений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в </a:t>
                      </a:r>
                      <a:r>
                        <a:rPr lang="ru-RU" sz="100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.ч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виноградников)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холодильников для хранения столового винограда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мбикормовых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едприятий и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цехов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ительство, реконструкцию и модернизацию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ъектов по производству винодельческой продукции</a:t>
                      </a:r>
                      <a:endParaRPr lang="ru-RU" sz="1000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конструкцию 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 модернизацию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ахарных заводов</a:t>
                      </a:r>
                      <a:endParaRPr lang="ru-RU" sz="1000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здание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логистических центров в растениеводстве и животноводстве (за исключением молочного и мясного скотоводства)</a:t>
                      </a:r>
                      <a:endParaRPr lang="ru-RU" sz="1000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обретение</a:t>
                      </a:r>
                      <a:endParaRPr lang="ru-RU" sz="1000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племенной продукции, технологического оборудования для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лекционно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семеноводческих центров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лабораторного оборудования и технических средств для селекционно-семеноводческих центров</a:t>
                      </a:r>
                      <a:endParaRPr lang="ru-RU" sz="10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обретение: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племенной продукции КРС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товарного ремонтного молодняка КРС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еменной продукции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технологического оборудования для селекционно-генетических центров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лабораторного оборудования и тех. средств для селекционно-генетических центров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автоматизированных программ управления селекционно-племенной работы</a:t>
                      </a:r>
                    </a:p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ительство, реконструкцию и модернизацию:</a:t>
                      </a:r>
                    </a:p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мплексов (ферм), объектов для мясного скотоводства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ясохладобоен, пунктов по приемке, первичной переработке сельхозживотных</a:t>
                      </a:r>
                    </a:p>
                    <a:p>
                      <a:pPr marL="0" algn="l" defTabSz="4572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ительство:</a:t>
                      </a:r>
                    </a:p>
                    <a:p>
                      <a:pPr marL="0" algn="l" defTabSz="4572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комплексов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ъектов животноводства, пунктов по приемке, первичной переработке молока</a:t>
                      </a:r>
                    </a:p>
                    <a:p>
                      <a:pPr marL="0" algn="l" defTabSz="4572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предприятий по производству цельномолочной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укции, сыров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сливочного масла,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цехов и участков по переработке и сушке сыворотки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заводов, цехов и участков по производству сухого молока</a:t>
                      </a:r>
                    </a:p>
                    <a:p>
                      <a:pPr marL="0" algn="l" defTabSz="4572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лекционно-генетических центров</a:t>
                      </a:r>
                    </a:p>
                    <a:p>
                      <a:pPr marL="0" algn="l" defTabSz="4572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оительство и реконструкцию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комбикормовых предприятий и цехов.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3655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333374" y="516732"/>
            <a:ext cx="60674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6600"/>
                </a:solidFill>
              </a:rPr>
              <a:t>Приложение 1 – </a:t>
            </a:r>
            <a:r>
              <a:rPr lang="ru-RU" sz="2000" dirty="0" smtClean="0">
                <a:solidFill>
                  <a:srgbClr val="006600"/>
                </a:solidFill>
              </a:rPr>
              <a:t>Перечень системно</a:t>
            </a:r>
            <a:r>
              <a:rPr lang="en-US" sz="2000" dirty="0">
                <a:solidFill>
                  <a:srgbClr val="006600"/>
                </a:solidFill>
              </a:rPr>
              <a:t> </a:t>
            </a:r>
            <a:r>
              <a:rPr lang="ru-RU" sz="2000" dirty="0" smtClean="0">
                <a:solidFill>
                  <a:srgbClr val="006600"/>
                </a:solidFill>
              </a:rPr>
              <a:t>значимых кредитных организаций в 2016 году</a:t>
            </a:r>
            <a:endParaRPr lang="en-US" sz="2000" dirty="0">
              <a:solidFill>
                <a:srgbClr val="006600"/>
              </a:solidFill>
            </a:endParaRPr>
          </a:p>
        </p:txBody>
      </p:sp>
      <p:pic>
        <p:nvPicPr>
          <p:cNvPr id="769026" name="Picture 2" descr="http://122.72.0.3www.telezri.ru/pic/sbrf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8074" y="1375135"/>
            <a:ext cx="1464412" cy="1368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9028" name="Picture 4" descr="http://rb7.ru/system/images/image_links/290496/2103-3574b0ea6951aeac310b473a8eef0e38-big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126" y="1300817"/>
            <a:ext cx="1919649" cy="1747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9030" name="Picture 6" descr="http://irkutsk.skidkimira.ru/images/discount/99c04569-96d1-45ed-9917-9e2719f6f3c6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5595" y="2843357"/>
            <a:ext cx="1609369" cy="1207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9032" name="Picture 8" descr="http://www.kredit-bank.com.ua/images/yunikredit-bank-kredity-unicredit-bank_1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312" y="2741757"/>
            <a:ext cx="1659467" cy="124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9034" name="Picture 10" descr="http://ipoteka-banki-77.ru/ris/gazprombank-ipoteka-moskva-i-oblast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2856027"/>
            <a:ext cx="1645882" cy="1197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9040" name="Picture 16" descr="http://stroitelstvo.org/images/news35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882" y="1642986"/>
            <a:ext cx="2071943" cy="845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9042" name="Picture 18" descr="http://credit-online.ws/wp-content/uploads/2014/02/logo_bank_otkrytie1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6932" y="3047999"/>
            <a:ext cx="2006153" cy="906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9046" name="Picture 22" descr="http://nvt72.ru/wp-content/uploads/2015/04/%D0%BF%D1%80%D0%BE%D0%BC%D1%81%D0%B2%D1%8F%D0%B7%D1%8C%D0%B1%D0%B0%D0%BD%D0%BA-1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1081" y="4371465"/>
            <a:ext cx="3081869" cy="512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9050" name="Picture 26" descr="http://смарт-эстейт.рф/wp-content/uploads/2015/05/Logotip_rajffajzenbanka_f67711d4a15e1c9242e7e3d25bad27cc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126" y="4187225"/>
            <a:ext cx="2992178" cy="748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33374" y="4987409"/>
            <a:ext cx="43815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u="sng" dirty="0" smtClean="0">
                <a:solidFill>
                  <a:srgbClr val="006600"/>
                </a:solidFill>
              </a:rPr>
              <a:t>Банки Республики Крым:</a:t>
            </a:r>
            <a:endParaRPr lang="ru-RU" b="1" u="sng" dirty="0">
              <a:solidFill>
                <a:srgbClr val="006600"/>
              </a:solidFill>
            </a:endParaRPr>
          </a:p>
        </p:txBody>
      </p:sp>
      <p:pic>
        <p:nvPicPr>
          <p:cNvPr id="4" name="Picture 4" descr="http://inform-crimea.ru/images/photos/medium/map613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0731" y="5468212"/>
            <a:ext cx="2377020" cy="80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http://vsevgallery.com/img/bPIC/201510/nV73kCegTEj-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912" y="5581650"/>
            <a:ext cx="2227290" cy="502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/>
          <p:cNvCxnSpPr/>
          <p:nvPr/>
        </p:nvCxnSpPr>
        <p:spPr>
          <a:xfrm>
            <a:off x="250824" y="4987409"/>
            <a:ext cx="916940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http://www.patent-rus.ru/img/2015/04/c6484feeb6cda550778059948528e2eb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7334" y="1359088"/>
            <a:ext cx="2359541" cy="1244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5513" y="2843357"/>
            <a:ext cx="16097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8969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524909" y="2981071"/>
            <a:ext cx="9471896" cy="13713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7" name="Номер слайда 3"/>
          <p:cNvSpPr txBox="1">
            <a:spLocks/>
          </p:cNvSpPr>
          <p:nvPr/>
        </p:nvSpPr>
        <p:spPr>
          <a:xfrm>
            <a:off x="7325953" y="6611173"/>
            <a:ext cx="2311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4EDD4EA8-982C-4748-80A8-256B4C0A5AF3}" type="slidenum">
              <a:rPr lang="ru-RU" sz="80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ru-RU" sz="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19100" y="525066"/>
            <a:ext cx="584291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6600"/>
                </a:solidFill>
              </a:rPr>
              <a:t>Новый механизм господдержки АПК</a:t>
            </a:r>
            <a:endParaRPr lang="en-US" sz="2000" b="1" dirty="0">
              <a:solidFill>
                <a:srgbClr val="00660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19100" y="1189606"/>
            <a:ext cx="9218253" cy="1452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С 01.01.2017 </a:t>
            </a:r>
            <a:r>
              <a:rPr lang="ru-RU" b="1" dirty="0" smtClean="0"/>
              <a:t>Правительством РФ </a:t>
            </a:r>
            <a:r>
              <a:rPr lang="ru-RU" b="1" dirty="0" smtClean="0"/>
              <a:t>введен </a:t>
            </a:r>
            <a:r>
              <a:rPr lang="ru-RU" b="1" dirty="0" smtClean="0"/>
              <a:t>в действие новый механизм господдержки предприятий АПК</a:t>
            </a:r>
            <a:r>
              <a:rPr lang="ru-RU" dirty="0" smtClean="0"/>
              <a:t> – </a:t>
            </a:r>
            <a:r>
              <a:rPr lang="ru-RU" b="1" dirty="0" smtClean="0">
                <a:solidFill>
                  <a:srgbClr val="008000"/>
                </a:solidFill>
              </a:rPr>
              <a:t>льготное краткосрочное и инвестиционное кредитование по ставке не более 5% </a:t>
            </a:r>
            <a:r>
              <a:rPr lang="ru-RU" b="1" dirty="0" smtClean="0">
                <a:solidFill>
                  <a:srgbClr val="008000"/>
                </a:solidFill>
              </a:rPr>
              <a:t>годовых (Постановление Правительства РФ от 29.12.2016 № 1528</a:t>
            </a:r>
            <a:endParaRPr lang="en-US" b="1" dirty="0">
              <a:solidFill>
                <a:srgbClr val="008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3720" y="5478649"/>
            <a:ext cx="92583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 smtClean="0"/>
              <a:t>* </a:t>
            </a:r>
            <a:r>
              <a:rPr lang="ru-RU" sz="1200" b="1" i="1" dirty="0" smtClean="0">
                <a:solidFill>
                  <a:srgbClr val="008000"/>
                </a:solidFill>
              </a:rPr>
              <a:t>уполномоченный банк </a:t>
            </a:r>
            <a:r>
              <a:rPr lang="ru-RU" sz="1200" i="1" dirty="0" smtClean="0"/>
              <a:t>– кредитная организация, являющаяся системно значимой кредитной организацией, заключившая с Минсельхозом России Соглашение о предоставлении субсидии в рамках реализации механизма льготного кредитования (перечень системно значимых кредитных организаций в 2016 году приведен в Приложении 1)</a:t>
            </a:r>
            <a:endParaRPr lang="ru-RU" sz="1200" i="1" dirty="0"/>
          </a:p>
        </p:txBody>
      </p:sp>
      <p:grpSp>
        <p:nvGrpSpPr>
          <p:cNvPr id="18" name="Группа 17"/>
          <p:cNvGrpSpPr/>
          <p:nvPr/>
        </p:nvGrpSpPr>
        <p:grpSpPr>
          <a:xfrm>
            <a:off x="614513" y="2642845"/>
            <a:ext cx="8039100" cy="2511103"/>
            <a:chOff x="609600" y="2534620"/>
            <a:chExt cx="8039100" cy="2511103"/>
          </a:xfrm>
        </p:grpSpPr>
        <p:sp>
          <p:nvSpPr>
            <p:cNvPr id="13" name="Выноска со стрелкой вправо 12"/>
            <p:cNvSpPr/>
            <p:nvPr/>
          </p:nvSpPr>
          <p:spPr>
            <a:xfrm>
              <a:off x="609600" y="2540648"/>
              <a:ext cx="2857500" cy="2505075"/>
            </a:xfrm>
            <a:prstGeom prst="rightArrowCallout">
              <a:avLst/>
            </a:prstGeom>
            <a:gradFill flip="none" rotWithShape="1">
              <a:gsLst>
                <a:gs pos="50000">
                  <a:schemeClr val="accent3"/>
                </a:gs>
                <a:gs pos="0">
                  <a:srgbClr val="00800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  <a:lin ang="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schemeClr val="tx1"/>
                  </a:solidFill>
                </a:rPr>
                <a:t>Заключение Соглашения о получении субсидии между Минсельхозом России и уполномоченным банком*</a:t>
              </a:r>
              <a:endParaRPr lang="ru-RU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3" name="Выноска со стрелкой вправо 22"/>
            <p:cNvSpPr/>
            <p:nvPr/>
          </p:nvSpPr>
          <p:spPr>
            <a:xfrm>
              <a:off x="3489207" y="2540647"/>
              <a:ext cx="2857500" cy="2505075"/>
            </a:xfrm>
            <a:prstGeom prst="rightArrowCallout">
              <a:avLst/>
            </a:prstGeom>
            <a:gradFill flip="none" rotWithShape="1">
              <a:gsLst>
                <a:gs pos="50000">
                  <a:schemeClr val="accent3"/>
                </a:gs>
                <a:gs pos="0">
                  <a:srgbClr val="00800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  <a:lin ang="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chemeClr val="tx1"/>
                  </a:solidFill>
                </a:rPr>
                <a:t>Предоставление уполномоченным банком предприятиям АПК льготных краткосрочных и (или) инвестиционных кредитов по ставке не более 5% годовых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6346708" y="2534620"/>
              <a:ext cx="2301992" cy="2511103"/>
            </a:xfrm>
            <a:prstGeom prst="rect">
              <a:avLst/>
            </a:prstGeom>
            <a:gradFill flip="none" rotWithShape="1">
              <a:gsLst>
                <a:gs pos="50000">
                  <a:schemeClr val="accent3"/>
                </a:gs>
                <a:gs pos="0">
                  <a:srgbClr val="00800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  <a:lin ang="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chemeClr val="tx1"/>
                  </a:solidFill>
                </a:rPr>
                <a:t>Компенсация Минсельхозом России уполномоченным банкам недополученных доходов в размере Ключевой ставки Банка России </a:t>
              </a:r>
            </a:p>
            <a:p>
              <a:pPr algn="ctr"/>
              <a:endParaRPr lang="ru-RU" sz="1400" b="1" dirty="0">
                <a:solidFill>
                  <a:schemeClr val="tx1"/>
                </a:solidFill>
              </a:endParaRPr>
            </a:p>
            <a:p>
              <a:pPr algn="ctr"/>
              <a:r>
                <a:rPr lang="ru-RU" sz="1400" b="1" dirty="0">
                  <a:solidFill>
                    <a:schemeClr val="tx1"/>
                  </a:solidFill>
                </a:rPr>
                <a:t>(по состоянию на </a:t>
              </a:r>
              <a:r>
                <a:rPr lang="ru-RU" sz="1400" b="1" dirty="0" smtClean="0">
                  <a:solidFill>
                    <a:schemeClr val="tx1"/>
                  </a:solidFill>
                </a:rPr>
                <a:t>13.01.2017 Ключевая </a:t>
              </a:r>
              <a:r>
                <a:rPr lang="ru-RU" sz="1400" b="1" dirty="0">
                  <a:solidFill>
                    <a:schemeClr val="tx1"/>
                  </a:solidFill>
                </a:rPr>
                <a:t>ставка Банка России </a:t>
              </a:r>
              <a:r>
                <a:rPr lang="ru-RU" sz="1400" b="1" dirty="0" smtClean="0">
                  <a:solidFill>
                    <a:schemeClr val="tx1"/>
                  </a:solidFill>
                </a:rPr>
                <a:t>составляет </a:t>
              </a:r>
              <a:r>
                <a:rPr lang="ru-RU" sz="1400" b="1" dirty="0">
                  <a:solidFill>
                    <a:schemeClr val="tx1"/>
                  </a:solidFill>
                </a:rPr>
                <a:t>10% годовых)</a:t>
              </a:r>
            </a:p>
          </p:txBody>
        </p:sp>
        <p:sp>
          <p:nvSpPr>
            <p:cNvPr id="16" name="Блок-схема: узел 15"/>
            <p:cNvSpPr/>
            <p:nvPr/>
          </p:nvSpPr>
          <p:spPr>
            <a:xfrm>
              <a:off x="609600" y="2566987"/>
              <a:ext cx="257175" cy="257175"/>
            </a:xfrm>
            <a:prstGeom prst="flowChartConnector">
              <a:avLst/>
            </a:prstGeom>
            <a:gradFill>
              <a:gsLst>
                <a:gs pos="0">
                  <a:schemeClr val="tx2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1</a:t>
              </a:r>
              <a:endParaRPr lang="ru-RU" dirty="0"/>
            </a:p>
          </p:txBody>
        </p:sp>
        <p:sp>
          <p:nvSpPr>
            <p:cNvPr id="24" name="Блок-схема: узел 23"/>
            <p:cNvSpPr/>
            <p:nvPr/>
          </p:nvSpPr>
          <p:spPr>
            <a:xfrm>
              <a:off x="3495675" y="2566987"/>
              <a:ext cx="257175" cy="257175"/>
            </a:xfrm>
            <a:prstGeom prst="flowChartConnector">
              <a:avLst/>
            </a:prstGeom>
            <a:gradFill>
              <a:gsLst>
                <a:gs pos="0">
                  <a:schemeClr val="tx2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2</a:t>
              </a:r>
            </a:p>
          </p:txBody>
        </p:sp>
        <p:sp>
          <p:nvSpPr>
            <p:cNvPr id="25" name="Блок-схема: узел 24"/>
            <p:cNvSpPr/>
            <p:nvPr/>
          </p:nvSpPr>
          <p:spPr>
            <a:xfrm>
              <a:off x="6346707" y="2540648"/>
              <a:ext cx="257175" cy="257175"/>
            </a:xfrm>
            <a:prstGeom prst="flowChartConnector">
              <a:avLst/>
            </a:prstGeom>
            <a:gradFill>
              <a:gsLst>
                <a:gs pos="0">
                  <a:schemeClr val="tx2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3</a:t>
              </a:r>
              <a:endParaRPr lang="ru-RU" dirty="0"/>
            </a:p>
          </p:txBody>
        </p:sp>
      </p:grpSp>
      <p:cxnSp>
        <p:nvCxnSpPr>
          <p:cNvPr id="28" name="Прямая соединительная линия 27"/>
          <p:cNvCxnSpPr/>
          <p:nvPr/>
        </p:nvCxnSpPr>
        <p:spPr>
          <a:xfrm>
            <a:off x="419099" y="5257910"/>
            <a:ext cx="8577749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431249" y="2238971"/>
            <a:ext cx="82223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u="sng" dirty="0" smtClean="0"/>
              <a:t>Краткая схема нового механизма господдержки:</a:t>
            </a:r>
            <a:endParaRPr lang="ru-RU" b="1" u="sng" dirty="0"/>
          </a:p>
        </p:txBody>
      </p:sp>
    </p:spTree>
    <p:extLst>
      <p:ext uri="{BB962C8B-B14F-4D97-AF65-F5344CB8AC3E}">
        <p14:creationId xmlns:p14="http://schemas.microsoft.com/office/powerpoint/2010/main" val="3102590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26616" y="1472371"/>
            <a:ext cx="931743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 fontAlgn="auto">
              <a:spcBef>
                <a:spcPts val="0"/>
              </a:spcBef>
              <a:spcAft>
                <a:spcPts val="300"/>
              </a:spcAft>
              <a:buFontTx/>
              <a:buAutoNum type="arabicPeriod"/>
              <a:tabLst>
                <a:tab pos="177800" algn="l"/>
              </a:tabLst>
              <a:defRPr/>
            </a:pPr>
            <a:endParaRPr lang="ru-RU" sz="1200" dirty="0">
              <a:solidFill>
                <a:prstClr val="black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42900" y="392682"/>
            <a:ext cx="604837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6600"/>
                </a:solidFill>
              </a:rPr>
              <a:t>Меры господдержки предприятий АПК, связанные с кредитованием в 2016-2017 годах </a:t>
            </a:r>
            <a:endParaRPr lang="en-US" sz="2000" b="1" dirty="0">
              <a:solidFill>
                <a:srgbClr val="006600"/>
              </a:solidFill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0840328"/>
              </p:ext>
            </p:extLst>
          </p:nvPr>
        </p:nvGraphicFramePr>
        <p:xfrm>
          <a:off x="419100" y="1749370"/>
          <a:ext cx="9124950" cy="36939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2650"/>
                <a:gridCol w="1619250"/>
                <a:gridCol w="1619250"/>
                <a:gridCol w="37338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Программа</a:t>
                      </a:r>
                      <a:r>
                        <a:rPr lang="ru-RU" baseline="0" dirty="0" smtClean="0">
                          <a:solidFill>
                            <a:schemeClr val="tx1"/>
                          </a:solidFill>
                        </a:rPr>
                        <a:t> господдержки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2016 год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2017 год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Примечание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1468949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Субсидии</a:t>
                      </a:r>
                      <a:r>
                        <a:rPr lang="ru-RU" sz="1400" b="1" baseline="0" dirty="0" smtClean="0"/>
                        <a:t> на компенсацию расходов на уплату процентов по кредитам (Программа №1460)</a:t>
                      </a:r>
                      <a:endParaRPr lang="ru-RU" sz="1400" b="1" dirty="0" smtClean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Да</a:t>
                      </a:r>
                      <a:endParaRPr lang="ru-RU" sz="1400" b="1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</a:rPr>
                        <a:t>Нет</a:t>
                      </a:r>
                      <a:endParaRPr lang="ru-RU" sz="14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u="none" dirty="0" smtClean="0">
                          <a:solidFill>
                            <a:srgbClr val="FF0000"/>
                          </a:solidFill>
                        </a:rPr>
                        <a:t>ВАЖНО! </a:t>
                      </a:r>
                      <a:r>
                        <a:rPr lang="ru-RU" sz="1400" u="none" dirty="0" smtClean="0"/>
                        <a:t>В 2017 году по Программе №1460 будут субсидироваться кредитные договоры</a:t>
                      </a:r>
                      <a:r>
                        <a:rPr lang="en-US" sz="1400" u="none" dirty="0" smtClean="0"/>
                        <a:t>,</a:t>
                      </a:r>
                      <a:r>
                        <a:rPr lang="ru-RU" sz="1400" u="none" dirty="0" smtClean="0"/>
                        <a:t> заключенные до 01.01.2017, по которым Минсельхозом России были приняты обязательства по субсидированию</a:t>
                      </a:r>
                      <a:endParaRPr lang="ru-RU" sz="1400" u="none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Субсидии кредитным организациям на возмещение недополученных доходов по льготным</a:t>
                      </a:r>
                      <a:r>
                        <a:rPr lang="ru-RU" sz="1400" b="1" baseline="0" dirty="0" smtClean="0"/>
                        <a:t> кредитам по ставке не более 5% годовых</a:t>
                      </a:r>
                      <a:endParaRPr lang="ru-RU" sz="1400" b="1" dirty="0" smtClean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</a:rPr>
                        <a:t>Нет</a:t>
                      </a:r>
                      <a:endParaRPr lang="ru-RU" sz="1400" b="1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Да</a:t>
                      </a: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</a:rPr>
                        <a:t>ВАЖНО!</a:t>
                      </a:r>
                      <a:r>
                        <a:rPr lang="ru-RU" sz="1400" b="1" baseline="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ru-RU" sz="1400" baseline="0" dirty="0" smtClean="0"/>
                        <a:t>Льготные кредиты предоставляются с 01.01.2017 года</a:t>
                      </a:r>
                      <a:endParaRPr lang="ru-RU" sz="1400" dirty="0" smtClean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</a:tr>
            </a:tbl>
          </a:graphicData>
        </a:graphic>
      </p:graphicFrame>
      <p:cxnSp>
        <p:nvCxnSpPr>
          <p:cNvPr id="15" name="Прямая соединительная линия 14"/>
          <p:cNvCxnSpPr/>
          <p:nvPr/>
        </p:nvCxnSpPr>
        <p:spPr>
          <a:xfrm>
            <a:off x="419100" y="5629385"/>
            <a:ext cx="912495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3298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26616" y="1472371"/>
            <a:ext cx="931743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 fontAlgn="auto">
              <a:spcBef>
                <a:spcPts val="0"/>
              </a:spcBef>
              <a:spcAft>
                <a:spcPts val="300"/>
              </a:spcAft>
              <a:buFontTx/>
              <a:buAutoNum type="arabicPeriod"/>
              <a:tabLst>
                <a:tab pos="177800" algn="l"/>
              </a:tabLst>
              <a:defRPr/>
            </a:pPr>
            <a:endParaRPr lang="ru-RU" sz="1200" dirty="0">
              <a:solidFill>
                <a:prstClr val="black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19100" y="525066"/>
            <a:ext cx="584291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6600"/>
                </a:solidFill>
              </a:rPr>
              <a:t>Основные параметры льготного кредитования предприятий АПК</a:t>
            </a:r>
            <a:endParaRPr lang="en-US" sz="2000" b="1" dirty="0">
              <a:solidFill>
                <a:srgbClr val="006600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655261"/>
              </p:ext>
            </p:extLst>
          </p:nvPr>
        </p:nvGraphicFramePr>
        <p:xfrm>
          <a:off x="419100" y="1523509"/>
          <a:ext cx="9124950" cy="45801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8436"/>
                <a:gridCol w="2714861"/>
                <a:gridCol w="2530453"/>
                <a:gridCol w="19812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Параметр льготного кредита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Краткосрочное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 кредитование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Инвестиционное кредитование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Примечание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Максимальный срок</a:t>
                      </a:r>
                      <a:endParaRPr lang="ru-RU" sz="1400" b="1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До</a:t>
                      </a:r>
                      <a:r>
                        <a:rPr lang="ru-RU" sz="1400" baseline="0" dirty="0" smtClean="0"/>
                        <a:t> 1 года (включительно)</a:t>
                      </a:r>
                      <a:endParaRPr lang="ru-RU" sz="14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От 2х до 15 лет (включительно)</a:t>
                      </a:r>
                      <a:endParaRPr lang="ru-RU" sz="14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Кредиты</a:t>
                      </a:r>
                      <a:r>
                        <a:rPr lang="ru-RU" sz="1400" baseline="0" dirty="0" smtClean="0"/>
                        <a:t> сроком от 1 до 2х лет </a:t>
                      </a:r>
                      <a:r>
                        <a:rPr lang="ru-RU" sz="1400" u="sng" baseline="0" dirty="0" smtClean="0"/>
                        <a:t>не субсидируются</a:t>
                      </a:r>
                      <a:endParaRPr lang="ru-RU" sz="1400" u="sng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Цель</a:t>
                      </a:r>
                      <a:endParaRPr lang="ru-RU" sz="1400" b="1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На развитие </a:t>
                      </a:r>
                      <a:r>
                        <a:rPr lang="ru-RU" sz="1400" dirty="0" smtClean="0"/>
                        <a:t>растениеводства, животноводства, и переработки продукции растениеводства и животноводства</a:t>
                      </a:r>
                      <a:endParaRPr lang="ru-RU" sz="14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На развитие растениеводства, животноводства, и переработки продукции растениеводства и животноводства</a:t>
                      </a:r>
                      <a:endParaRPr lang="ru-RU" sz="14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Конкретный перечень утверждается Минсельхозом России</a:t>
                      </a: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453881"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Валюта</a:t>
                      </a:r>
                      <a:endParaRPr lang="ru-RU" sz="1400" b="1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убли РФ</a:t>
                      </a:r>
                      <a:endParaRPr lang="ru-RU" sz="14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убли РФ</a:t>
                      </a:r>
                      <a:endParaRPr lang="ru-RU" sz="14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-</a:t>
                      </a:r>
                      <a:endParaRPr lang="ru-RU" sz="14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Сумма</a:t>
                      </a:r>
                      <a:endParaRPr lang="ru-RU" sz="1400" b="1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Максимальный лимит на заемщика одного уполномоченного банка – не более 1 </a:t>
                      </a:r>
                      <a:r>
                        <a:rPr lang="ru-RU" sz="1400" dirty="0" err="1" smtClean="0"/>
                        <a:t>млрд.руб</a:t>
                      </a:r>
                      <a:r>
                        <a:rPr lang="ru-RU" sz="1400" dirty="0" smtClean="0"/>
                        <a:t>.</a:t>
                      </a:r>
                      <a:endParaRPr lang="ru-RU" sz="14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Без ограничения по сумме на реализацию 1-го</a:t>
                      </a:r>
                      <a:r>
                        <a:rPr lang="ru-RU" sz="1400" baseline="0" dirty="0" smtClean="0"/>
                        <a:t> инвестиционного проекта заемщика  одного  уполномоченного банка</a:t>
                      </a:r>
                      <a:endParaRPr lang="ru-RU" sz="14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aseline="0" dirty="0" smtClean="0"/>
                        <a:t>-</a:t>
                      </a:r>
                      <a:endParaRPr lang="ru-RU" sz="14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499110"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Форма кредитования</a:t>
                      </a:r>
                      <a:endParaRPr lang="ru-RU" sz="1400" b="1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Кредит, кредитная линия</a:t>
                      </a:r>
                      <a:endParaRPr lang="ru-RU" sz="14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Кредит, кредитная линия</a:t>
                      </a:r>
                      <a:endParaRPr lang="ru-RU" sz="14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-</a:t>
                      </a:r>
                      <a:endParaRPr lang="ru-RU" sz="14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9469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419100" y="525066"/>
            <a:ext cx="584291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6600"/>
                </a:solidFill>
              </a:rPr>
              <a:t>Общие требования к получателям льготных кредитов</a:t>
            </a:r>
            <a:endParaRPr lang="en-US" sz="2000" b="1" dirty="0">
              <a:solidFill>
                <a:srgbClr val="0066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19100" y="1543050"/>
            <a:ext cx="9296400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Для получения льготного кредита заемщик должен удовлетворять следующим </a:t>
            </a:r>
            <a:r>
              <a:rPr lang="ru-RU" b="1" u="sng" dirty="0" smtClean="0"/>
              <a:t>общим </a:t>
            </a:r>
            <a:r>
              <a:rPr lang="ru-RU" b="1" dirty="0" smtClean="0"/>
              <a:t>условиям:</a:t>
            </a:r>
          </a:p>
          <a:p>
            <a:pPr marL="285750" indent="-285750">
              <a:spcBef>
                <a:spcPts val="1200"/>
              </a:spcBef>
              <a:buFontTx/>
              <a:buChar char="-"/>
            </a:pPr>
            <a:r>
              <a:rPr lang="ru-RU" dirty="0" smtClean="0"/>
              <a:t>не находиться в </a:t>
            </a:r>
            <a:r>
              <a:rPr lang="ru-RU" dirty="0" smtClean="0"/>
              <a:t>процессе реорганизации, ликвидации и не иметь ограничений на осуществление хозяйственной деятельности</a:t>
            </a:r>
            <a:endParaRPr lang="ru-RU" dirty="0" smtClean="0"/>
          </a:p>
          <a:p>
            <a:pPr marL="285750" indent="-285750">
              <a:spcBef>
                <a:spcPts val="1200"/>
              </a:spcBef>
              <a:buFontTx/>
              <a:buChar char="-"/>
            </a:pPr>
            <a:r>
              <a:rPr lang="ru-RU" dirty="0" smtClean="0"/>
              <a:t>иметь (обладать) статус(ом) налогового резидента РФ</a:t>
            </a:r>
          </a:p>
          <a:p>
            <a:pPr marL="285750" indent="-285750">
              <a:spcBef>
                <a:spcPts val="1200"/>
              </a:spcBef>
              <a:buFontTx/>
              <a:buChar char="-"/>
            </a:pPr>
            <a:r>
              <a:rPr lang="ru-RU" dirty="0" smtClean="0"/>
              <a:t>быть зарегистрированным на территории РФ</a:t>
            </a:r>
          </a:p>
          <a:p>
            <a:pPr marL="285750" indent="-285750">
              <a:spcBef>
                <a:spcPts val="1200"/>
              </a:spcBef>
              <a:buFontTx/>
              <a:buChar char="-"/>
            </a:pPr>
            <a:r>
              <a:rPr lang="ru-RU" dirty="0" smtClean="0"/>
              <a:t>отсутствие возбужденного производства по делу о несостоятельности (банкротстве)</a:t>
            </a:r>
          </a:p>
          <a:p>
            <a:pPr marL="285750" indent="-285750">
              <a:spcBef>
                <a:spcPts val="1200"/>
              </a:spcBef>
              <a:buFontTx/>
              <a:buChar char="-"/>
            </a:pPr>
            <a:r>
              <a:rPr lang="ru-RU" dirty="0" smtClean="0"/>
              <a:t>отсутствие просроченной (неурегулированной) задолженности по налогам, сборам и иным обязательным платежам в бюджет и во внебюджетные </a:t>
            </a:r>
            <a:r>
              <a:rPr lang="ru-RU" dirty="0" smtClean="0"/>
              <a:t>фонды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514349" y="5324475"/>
            <a:ext cx="88677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ВАЖНО! </a:t>
            </a:r>
            <a:r>
              <a:rPr lang="ru-RU" dirty="0" smtClean="0"/>
              <a:t>Потенциальный заемщик должен удовлетворять также требованиям уполномоченного банка в соответствии с его внутренними нормативными документам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2215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333375" y="516732"/>
            <a:ext cx="584291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6600"/>
                </a:solidFill>
              </a:rPr>
              <a:t>Укрупненная последовательность шагов процесса льготного кредитования </a:t>
            </a:r>
            <a:endParaRPr lang="en-US" sz="2000" b="1" dirty="0">
              <a:solidFill>
                <a:srgbClr val="006600"/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404140" y="1571624"/>
            <a:ext cx="9435184" cy="4505325"/>
            <a:chOff x="419100" y="1781174"/>
            <a:chExt cx="9435184" cy="4505325"/>
          </a:xfrm>
        </p:grpSpPr>
        <p:sp>
          <p:nvSpPr>
            <p:cNvPr id="2" name="Пятиугольник 1"/>
            <p:cNvSpPr/>
            <p:nvPr/>
          </p:nvSpPr>
          <p:spPr>
            <a:xfrm>
              <a:off x="419100" y="1781174"/>
              <a:ext cx="3013990" cy="1419225"/>
            </a:xfrm>
            <a:prstGeom prst="homePlate">
              <a:avLst/>
            </a:prstGeom>
            <a:gradFill flip="none" rotWithShape="1">
              <a:gsLst>
                <a:gs pos="0">
                  <a:schemeClr val="accent3"/>
                </a:gs>
                <a:gs pos="39999">
                  <a:schemeClr val="accent3"/>
                </a:gs>
                <a:gs pos="70000">
                  <a:srgbClr val="92D050"/>
                </a:gs>
                <a:gs pos="100000">
                  <a:srgbClr val="92D050"/>
                </a:gs>
              </a:gsLst>
              <a:lin ang="5400000" scaled="0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 smtClean="0">
                  <a:solidFill>
                    <a:schemeClr val="tx1"/>
                  </a:solidFill>
                </a:rPr>
                <a:t>Прием банком документов, проверка соответствия условиям Программы льготного кредитования, принятие решения о кредитовании</a:t>
              </a:r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8" name="Пятиугольник 7"/>
            <p:cNvSpPr/>
            <p:nvPr/>
          </p:nvSpPr>
          <p:spPr>
            <a:xfrm>
              <a:off x="3433090" y="1781175"/>
              <a:ext cx="2895600" cy="1419224"/>
            </a:xfrm>
            <a:prstGeom prst="homePlate">
              <a:avLst/>
            </a:prstGeom>
            <a:gradFill flip="none" rotWithShape="1">
              <a:gsLst>
                <a:gs pos="0">
                  <a:schemeClr val="accent3"/>
                </a:gs>
                <a:gs pos="39999">
                  <a:schemeClr val="accent3"/>
                </a:gs>
                <a:gs pos="70000">
                  <a:srgbClr val="92D050"/>
                </a:gs>
                <a:gs pos="100000">
                  <a:srgbClr val="92D050"/>
                </a:gs>
              </a:gsLst>
              <a:lin ang="5400000" scaled="0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solidFill>
                    <a:schemeClr val="tx1"/>
                  </a:solidFill>
                </a:rPr>
                <a:t>Включение банком потенциального </a:t>
              </a:r>
              <a:r>
                <a:rPr lang="ru-RU" sz="1400" dirty="0" smtClean="0">
                  <a:solidFill>
                    <a:schemeClr val="tx1"/>
                  </a:solidFill>
                </a:rPr>
                <a:t>заемщика </a:t>
              </a:r>
              <a:r>
                <a:rPr lang="ru-RU" sz="1400" dirty="0">
                  <a:solidFill>
                    <a:schemeClr val="tx1"/>
                  </a:solidFill>
                </a:rPr>
                <a:t>в Реестр потенциальных заемщиков, направление реестра в Минсельхоз России </a:t>
              </a:r>
            </a:p>
          </p:txBody>
        </p:sp>
        <p:sp>
          <p:nvSpPr>
            <p:cNvPr id="9" name="Пятиугольник 8"/>
            <p:cNvSpPr/>
            <p:nvPr/>
          </p:nvSpPr>
          <p:spPr>
            <a:xfrm>
              <a:off x="6328689" y="1790700"/>
              <a:ext cx="3525595" cy="1485900"/>
            </a:xfrm>
            <a:prstGeom prst="homePlate">
              <a:avLst/>
            </a:prstGeom>
            <a:gradFill flip="none" rotWithShape="1">
              <a:gsLst>
                <a:gs pos="0">
                  <a:schemeClr val="accent3"/>
                </a:gs>
                <a:gs pos="39999">
                  <a:schemeClr val="accent3"/>
                </a:gs>
                <a:gs pos="70000">
                  <a:srgbClr val="92D050"/>
                </a:gs>
                <a:gs pos="100000">
                  <a:srgbClr val="92D050"/>
                </a:gs>
              </a:gsLst>
              <a:lin ang="5400000" scaled="0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 smtClean="0">
                  <a:solidFill>
                    <a:schemeClr val="tx1"/>
                  </a:solidFill>
                </a:rPr>
                <a:t>Направление в банк </a:t>
              </a:r>
              <a:r>
                <a:rPr lang="ru-RU" sz="1400" dirty="0" err="1" smtClean="0">
                  <a:solidFill>
                    <a:schemeClr val="tx1"/>
                  </a:solidFill>
                </a:rPr>
                <a:t>подтвержде</a:t>
              </a:r>
              <a:r>
                <a:rPr lang="ru-RU" sz="1400" dirty="0" smtClean="0">
                  <a:solidFill>
                    <a:schemeClr val="tx1"/>
                  </a:solidFill>
                </a:rPr>
                <a:t>-</a:t>
              </a:r>
            </a:p>
            <a:p>
              <a:pPr algn="ctr"/>
              <a:r>
                <a:rPr lang="ru-RU" sz="1400" dirty="0" err="1" smtClean="0">
                  <a:solidFill>
                    <a:schemeClr val="tx1"/>
                  </a:solidFill>
                </a:rPr>
                <a:t>ния</a:t>
              </a:r>
              <a:r>
                <a:rPr lang="ru-RU" sz="1400" dirty="0" smtClean="0">
                  <a:solidFill>
                    <a:schemeClr val="tx1"/>
                  </a:solidFill>
                </a:rPr>
                <a:t> </a:t>
              </a:r>
              <a:r>
                <a:rPr lang="ru-RU" sz="1400" dirty="0" smtClean="0">
                  <a:solidFill>
                    <a:schemeClr val="tx1"/>
                  </a:solidFill>
                </a:rPr>
                <a:t>Минсельхоза </a:t>
              </a:r>
              <a:r>
                <a:rPr lang="ru-RU" sz="1400" dirty="0">
                  <a:solidFill>
                    <a:schemeClr val="tx1"/>
                  </a:solidFill>
                </a:rPr>
                <a:t>России </a:t>
              </a:r>
              <a:r>
                <a:rPr lang="ru-RU" sz="1400" dirty="0" smtClean="0">
                  <a:solidFill>
                    <a:schemeClr val="tx1"/>
                  </a:solidFill>
                </a:rPr>
                <a:t>о включении заемщика в Реестр заемщиков, достаточности </a:t>
              </a:r>
              <a:r>
                <a:rPr lang="ru-RU" sz="1400" dirty="0">
                  <a:solidFill>
                    <a:schemeClr val="tx1"/>
                  </a:solidFill>
                </a:rPr>
                <a:t>лимитов бюджетных ассигнований, соответствие целей льготного кредита Программе льготного кредитования</a:t>
              </a:r>
            </a:p>
          </p:txBody>
        </p:sp>
        <p:sp>
          <p:nvSpPr>
            <p:cNvPr id="10" name="Пятиугольник 9"/>
            <p:cNvSpPr/>
            <p:nvPr/>
          </p:nvSpPr>
          <p:spPr>
            <a:xfrm>
              <a:off x="419100" y="3381375"/>
              <a:ext cx="3013990" cy="1333500"/>
            </a:xfrm>
            <a:prstGeom prst="homePlate">
              <a:avLst/>
            </a:prstGeom>
            <a:gradFill flip="none" rotWithShape="1">
              <a:gsLst>
                <a:gs pos="0">
                  <a:schemeClr val="accent3"/>
                </a:gs>
                <a:gs pos="39999">
                  <a:schemeClr val="accent3"/>
                </a:gs>
                <a:gs pos="70000">
                  <a:srgbClr val="92D050"/>
                </a:gs>
                <a:gs pos="100000">
                  <a:srgbClr val="92D050"/>
                </a:gs>
              </a:gsLst>
              <a:lin ang="5400000" scaled="0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solidFill>
                    <a:schemeClr val="tx1"/>
                  </a:solidFill>
                </a:rPr>
                <a:t>Включение </a:t>
              </a:r>
              <a:r>
                <a:rPr lang="ru-RU" sz="1400" dirty="0" smtClean="0">
                  <a:solidFill>
                    <a:schemeClr val="tx1"/>
                  </a:solidFill>
                </a:rPr>
                <a:t>банком заемщика </a:t>
              </a:r>
              <a:r>
                <a:rPr lang="ru-RU" sz="1400" dirty="0" smtClean="0">
                  <a:solidFill>
                    <a:schemeClr val="tx1"/>
                  </a:solidFill>
                </a:rPr>
                <a:t>в </a:t>
              </a:r>
              <a:r>
                <a:rPr lang="ru-RU" sz="1400" dirty="0">
                  <a:solidFill>
                    <a:schemeClr val="tx1"/>
                  </a:solidFill>
                </a:rPr>
                <a:t>Реестр заемщиков. </a:t>
              </a:r>
            </a:p>
          </p:txBody>
        </p:sp>
        <p:sp>
          <p:nvSpPr>
            <p:cNvPr id="11" name="Пятиугольник 10"/>
            <p:cNvSpPr/>
            <p:nvPr/>
          </p:nvSpPr>
          <p:spPr>
            <a:xfrm>
              <a:off x="3433090" y="3381375"/>
              <a:ext cx="2895600" cy="1333500"/>
            </a:xfrm>
            <a:prstGeom prst="homePlate">
              <a:avLst/>
            </a:prstGeom>
            <a:gradFill flip="none" rotWithShape="1">
              <a:gsLst>
                <a:gs pos="0">
                  <a:schemeClr val="accent3"/>
                </a:gs>
                <a:gs pos="39999">
                  <a:schemeClr val="accent3"/>
                </a:gs>
                <a:gs pos="70000">
                  <a:srgbClr val="92D050"/>
                </a:gs>
                <a:gs pos="100000">
                  <a:srgbClr val="92D050"/>
                </a:gs>
              </a:gsLst>
              <a:lin ang="5400000" scaled="0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solidFill>
                    <a:schemeClr val="tx1"/>
                  </a:solidFill>
                </a:rPr>
                <a:t>Заключение между </a:t>
              </a:r>
            </a:p>
            <a:p>
              <a:pPr algn="ctr"/>
              <a:r>
                <a:rPr lang="ru-RU" sz="1400" dirty="0">
                  <a:solidFill>
                    <a:schemeClr val="tx1"/>
                  </a:solidFill>
                </a:rPr>
                <a:t>банком и заемщиком льготного кредитного договора. Предоставление денежных средств</a:t>
              </a:r>
            </a:p>
          </p:txBody>
        </p:sp>
        <p:sp>
          <p:nvSpPr>
            <p:cNvPr id="12" name="Пятиугольник 11"/>
            <p:cNvSpPr/>
            <p:nvPr/>
          </p:nvSpPr>
          <p:spPr>
            <a:xfrm>
              <a:off x="6328690" y="3381375"/>
              <a:ext cx="3439870" cy="1333500"/>
            </a:xfrm>
            <a:prstGeom prst="homePlate">
              <a:avLst/>
            </a:prstGeom>
            <a:gradFill flip="none" rotWithShape="1">
              <a:gsLst>
                <a:gs pos="0">
                  <a:schemeClr val="accent3"/>
                </a:gs>
                <a:gs pos="39999">
                  <a:schemeClr val="accent3"/>
                </a:gs>
                <a:gs pos="70000">
                  <a:srgbClr val="92D050"/>
                </a:gs>
                <a:gs pos="100000">
                  <a:srgbClr val="92D050"/>
                </a:gs>
              </a:gsLst>
              <a:lin ang="5400000" scaled="0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solidFill>
                    <a:schemeClr val="tx1"/>
                  </a:solidFill>
                </a:rPr>
                <a:t>Уплата заемщиком процентов по льготной ставке (не более 5% годовых</a:t>
              </a:r>
              <a:r>
                <a:rPr lang="ru-RU" sz="1400" dirty="0" smtClean="0">
                  <a:solidFill>
                    <a:schemeClr val="tx1"/>
                  </a:solidFill>
                </a:rPr>
                <a:t>)</a:t>
              </a:r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Пятиугольник 12"/>
            <p:cNvSpPr/>
            <p:nvPr/>
          </p:nvSpPr>
          <p:spPr>
            <a:xfrm>
              <a:off x="2054682" y="4924424"/>
              <a:ext cx="3013990" cy="1333500"/>
            </a:xfrm>
            <a:prstGeom prst="homePlate">
              <a:avLst/>
            </a:prstGeom>
            <a:gradFill flip="none" rotWithShape="1">
              <a:gsLst>
                <a:gs pos="0">
                  <a:schemeClr val="accent3"/>
                </a:gs>
                <a:gs pos="39999">
                  <a:schemeClr val="accent3"/>
                </a:gs>
                <a:gs pos="70000">
                  <a:srgbClr val="92D050"/>
                </a:gs>
                <a:gs pos="100000">
                  <a:srgbClr val="92D050"/>
                </a:gs>
              </a:gsLst>
              <a:lin ang="5400000" scaled="0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solidFill>
                    <a:schemeClr val="tx1"/>
                  </a:solidFill>
                </a:rPr>
                <a:t>Формирование банком </a:t>
              </a:r>
            </a:p>
            <a:p>
              <a:pPr algn="ctr"/>
              <a:r>
                <a:rPr lang="ru-RU" sz="1400" dirty="0">
                  <a:solidFill>
                    <a:schemeClr val="tx1"/>
                  </a:solidFill>
                </a:rPr>
                <a:t>реестра льготных кредитных договоров и </a:t>
              </a:r>
              <a:r>
                <a:rPr lang="ru-RU" sz="1400" dirty="0" smtClean="0">
                  <a:solidFill>
                    <a:schemeClr val="tx1"/>
                  </a:solidFill>
                </a:rPr>
                <a:t>заявления </a:t>
              </a:r>
              <a:r>
                <a:rPr lang="ru-RU" sz="1400" dirty="0">
                  <a:solidFill>
                    <a:schemeClr val="tx1"/>
                  </a:solidFill>
                </a:rPr>
                <a:t>на получение субсидии. Направление </a:t>
              </a:r>
              <a:r>
                <a:rPr lang="ru-RU" sz="1400" dirty="0" smtClean="0">
                  <a:solidFill>
                    <a:schemeClr val="tx1"/>
                  </a:solidFill>
                </a:rPr>
                <a:t>заявления </a:t>
              </a:r>
              <a:r>
                <a:rPr lang="ru-RU" sz="1400" dirty="0">
                  <a:solidFill>
                    <a:schemeClr val="tx1"/>
                  </a:solidFill>
                </a:rPr>
                <a:t>в Минсельхоз России</a:t>
              </a:r>
            </a:p>
          </p:txBody>
        </p:sp>
        <p:sp>
          <p:nvSpPr>
            <p:cNvPr id="14" name="Пятиугольник 13"/>
            <p:cNvSpPr/>
            <p:nvPr/>
          </p:nvSpPr>
          <p:spPr>
            <a:xfrm>
              <a:off x="5138064" y="4952999"/>
              <a:ext cx="3011245" cy="1333500"/>
            </a:xfrm>
            <a:prstGeom prst="homePlate">
              <a:avLst/>
            </a:prstGeom>
            <a:gradFill flip="none" rotWithShape="1">
              <a:gsLst>
                <a:gs pos="0">
                  <a:schemeClr val="accent3"/>
                </a:gs>
                <a:gs pos="39999">
                  <a:schemeClr val="accent3"/>
                </a:gs>
                <a:gs pos="70000">
                  <a:srgbClr val="92D050"/>
                </a:gs>
                <a:gs pos="100000">
                  <a:srgbClr val="92D050"/>
                </a:gs>
              </a:gsLst>
              <a:lin ang="5400000" scaled="0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solidFill>
                    <a:schemeClr val="tx1"/>
                  </a:solidFill>
                </a:rPr>
                <a:t>  Рассмотрение Минсельхозом России требования банка. </a:t>
              </a:r>
              <a:r>
                <a:rPr lang="ru-RU" sz="1400" dirty="0" smtClean="0">
                  <a:solidFill>
                    <a:schemeClr val="tx1"/>
                  </a:solidFill>
                </a:rPr>
                <a:t>Подтверждением  и перечисление </a:t>
              </a:r>
              <a:r>
                <a:rPr lang="ru-RU" sz="1400" dirty="0">
                  <a:solidFill>
                    <a:schemeClr val="tx1"/>
                  </a:solidFill>
                </a:rPr>
                <a:t>суммы субсидии на к/с банка</a:t>
              </a:r>
            </a:p>
          </p:txBody>
        </p:sp>
        <p:sp>
          <p:nvSpPr>
            <p:cNvPr id="15" name="Блок-схема: узел 14"/>
            <p:cNvSpPr/>
            <p:nvPr/>
          </p:nvSpPr>
          <p:spPr>
            <a:xfrm>
              <a:off x="419100" y="1790934"/>
              <a:ext cx="257175" cy="257175"/>
            </a:xfrm>
            <a:prstGeom prst="flowChartConnector">
              <a:avLst/>
            </a:prstGeom>
            <a:gradFill>
              <a:gsLst>
                <a:gs pos="0">
                  <a:schemeClr val="tx2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1</a:t>
              </a:r>
              <a:endParaRPr lang="ru-RU" dirty="0"/>
            </a:p>
          </p:txBody>
        </p:sp>
        <p:sp>
          <p:nvSpPr>
            <p:cNvPr id="16" name="Блок-схема: узел 15"/>
            <p:cNvSpPr/>
            <p:nvPr/>
          </p:nvSpPr>
          <p:spPr>
            <a:xfrm>
              <a:off x="3433090" y="1781175"/>
              <a:ext cx="257175" cy="257175"/>
            </a:xfrm>
            <a:prstGeom prst="flowChartConnector">
              <a:avLst/>
            </a:prstGeom>
            <a:gradFill>
              <a:gsLst>
                <a:gs pos="0">
                  <a:schemeClr val="tx2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2</a:t>
              </a:r>
            </a:p>
          </p:txBody>
        </p:sp>
        <p:sp>
          <p:nvSpPr>
            <p:cNvPr id="17" name="Блок-схема: узел 16"/>
            <p:cNvSpPr/>
            <p:nvPr/>
          </p:nvSpPr>
          <p:spPr>
            <a:xfrm>
              <a:off x="6328690" y="1804987"/>
              <a:ext cx="257175" cy="257175"/>
            </a:xfrm>
            <a:prstGeom prst="flowChartConnector">
              <a:avLst/>
            </a:prstGeom>
            <a:gradFill>
              <a:gsLst>
                <a:gs pos="0">
                  <a:schemeClr val="tx2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3</a:t>
              </a:r>
              <a:endParaRPr lang="ru-RU" dirty="0"/>
            </a:p>
          </p:txBody>
        </p:sp>
        <p:sp>
          <p:nvSpPr>
            <p:cNvPr id="18" name="Блок-схема: узел 17"/>
            <p:cNvSpPr/>
            <p:nvPr/>
          </p:nvSpPr>
          <p:spPr>
            <a:xfrm>
              <a:off x="419100" y="3381375"/>
              <a:ext cx="257175" cy="257175"/>
            </a:xfrm>
            <a:prstGeom prst="flowChartConnector">
              <a:avLst/>
            </a:prstGeom>
            <a:gradFill>
              <a:gsLst>
                <a:gs pos="0">
                  <a:schemeClr val="tx2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4</a:t>
              </a:r>
              <a:endParaRPr lang="ru-RU" dirty="0"/>
            </a:p>
          </p:txBody>
        </p:sp>
        <p:sp>
          <p:nvSpPr>
            <p:cNvPr id="19" name="Блок-схема: узел 18"/>
            <p:cNvSpPr/>
            <p:nvPr/>
          </p:nvSpPr>
          <p:spPr>
            <a:xfrm>
              <a:off x="3433089" y="3381375"/>
              <a:ext cx="257175" cy="257175"/>
            </a:xfrm>
            <a:prstGeom prst="flowChartConnector">
              <a:avLst/>
            </a:prstGeom>
            <a:gradFill>
              <a:gsLst>
                <a:gs pos="0">
                  <a:schemeClr val="tx2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5</a:t>
              </a:r>
              <a:endParaRPr lang="ru-RU" dirty="0"/>
            </a:p>
          </p:txBody>
        </p:sp>
        <p:sp>
          <p:nvSpPr>
            <p:cNvPr id="20" name="Блок-схема: узел 19"/>
            <p:cNvSpPr/>
            <p:nvPr/>
          </p:nvSpPr>
          <p:spPr>
            <a:xfrm>
              <a:off x="6328689" y="3381375"/>
              <a:ext cx="257175" cy="257175"/>
            </a:xfrm>
            <a:prstGeom prst="flowChartConnector">
              <a:avLst/>
            </a:prstGeom>
            <a:gradFill>
              <a:gsLst>
                <a:gs pos="0">
                  <a:schemeClr val="tx2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6</a:t>
              </a:r>
            </a:p>
          </p:txBody>
        </p:sp>
        <p:sp>
          <p:nvSpPr>
            <p:cNvPr id="21" name="Блок-схема: узел 20"/>
            <p:cNvSpPr/>
            <p:nvPr/>
          </p:nvSpPr>
          <p:spPr>
            <a:xfrm>
              <a:off x="2054682" y="4924424"/>
              <a:ext cx="257175" cy="257175"/>
            </a:xfrm>
            <a:prstGeom prst="flowChartConnector">
              <a:avLst/>
            </a:prstGeom>
            <a:gradFill>
              <a:gsLst>
                <a:gs pos="0">
                  <a:schemeClr val="tx2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7</a:t>
              </a:r>
            </a:p>
          </p:txBody>
        </p:sp>
        <p:sp>
          <p:nvSpPr>
            <p:cNvPr id="22" name="Блок-схема: узел 21"/>
            <p:cNvSpPr/>
            <p:nvPr/>
          </p:nvSpPr>
          <p:spPr>
            <a:xfrm>
              <a:off x="5138065" y="4953000"/>
              <a:ext cx="257175" cy="257175"/>
            </a:xfrm>
            <a:prstGeom prst="flowChartConnector">
              <a:avLst/>
            </a:prstGeom>
            <a:gradFill>
              <a:gsLst>
                <a:gs pos="0">
                  <a:schemeClr val="tx2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8</a:t>
              </a:r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391054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333375" y="516732"/>
            <a:ext cx="584291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6600"/>
                </a:solidFill>
              </a:rPr>
              <a:t>Приостановление и прекращение субсидирования (1/2)</a:t>
            </a:r>
            <a:endParaRPr lang="en-US" sz="2000" b="1" dirty="0">
              <a:solidFill>
                <a:srgbClr val="0066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19100" y="1343709"/>
            <a:ext cx="84867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В течение срока действия льготного кредитного договора </a:t>
            </a:r>
            <a:r>
              <a:rPr lang="ru-RU" u="sng" dirty="0" smtClean="0">
                <a:solidFill>
                  <a:srgbClr val="FF0000"/>
                </a:solidFill>
              </a:rPr>
              <a:t>субсидирование уполномоченных банков может быть приостановлено</a:t>
            </a:r>
            <a:r>
              <a:rPr lang="ru-RU" u="sng" dirty="0" smtClean="0"/>
              <a:t> </a:t>
            </a:r>
            <a:endParaRPr lang="ru-RU" u="sng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3125256"/>
              </p:ext>
            </p:extLst>
          </p:nvPr>
        </p:nvGraphicFramePr>
        <p:xfrm>
          <a:off x="531812" y="2189163"/>
          <a:ext cx="9088439" cy="289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78313"/>
                <a:gridCol w="2486025"/>
                <a:gridCol w="2324101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Основание приостановления субсидирования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Срок приостановления субсидирования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Последствия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 для заемщика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 smtClean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Неудовлетворение заемщиком общих требований к заемщикам (Слайд 5) или требованиям уполномоченного банка</a:t>
                      </a:r>
                      <a:endParaRPr lang="ru-RU" sz="1400" b="1" dirty="0" smtClean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До</a:t>
                      </a:r>
                      <a:r>
                        <a:rPr lang="ru-RU" sz="1400" baseline="0" dirty="0" smtClean="0"/>
                        <a:t> момента полного </a:t>
                      </a:r>
                      <a:r>
                        <a:rPr lang="ru-RU" sz="1400" baseline="0" dirty="0" smtClean="0"/>
                        <a:t>устранения нарушений заемщиком</a:t>
                      </a:r>
                      <a:endParaRPr lang="ru-RU" sz="14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На период приостановления субсидирования</a:t>
                      </a:r>
                      <a:r>
                        <a:rPr lang="ru-RU" sz="1400" baseline="0" dirty="0" smtClean="0"/>
                        <a:t> банк увеличивает процентную ставку по кредитному договору до рыночного уровня**</a:t>
                      </a:r>
                      <a:endParaRPr lang="ru-RU" sz="14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 smtClean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Наличие </a:t>
                      </a:r>
                      <a:r>
                        <a:rPr lang="ru-RU" sz="1400" b="1" dirty="0" smtClean="0"/>
                        <a:t>просроченной (неурегулированной) задолженности по налогам, сборам и иным обязательным платежам в бюджет и во внебюджетные фонды сроком более 90 календарных </a:t>
                      </a:r>
                      <a:r>
                        <a:rPr lang="ru-RU" sz="1400" b="1" dirty="0" smtClean="0"/>
                        <a:t>дней*</a:t>
                      </a:r>
                      <a:endParaRPr lang="ru-RU" sz="1400" b="1" dirty="0" smtClean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До момента уплаты (урегулирования) заемщиком задолженности</a:t>
                      </a:r>
                      <a:endParaRPr lang="ru-RU" sz="14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23875" y="5248959"/>
            <a:ext cx="88773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* - за исключением случая (случаев) возникновения просроченных платежей по основному </a:t>
            </a:r>
            <a:r>
              <a:rPr lang="ru-RU" sz="1200" dirty="0" smtClean="0"/>
              <a:t>долгу </a:t>
            </a:r>
            <a:r>
              <a:rPr lang="ru-RU" sz="1200" dirty="0" smtClean="0"/>
              <a:t>и (или) процентам в течение последних 180 календарных дней продолжительностью (общей продолжительностью) </a:t>
            </a:r>
            <a:r>
              <a:rPr lang="ru-RU" sz="1200" b="1" u="sng" dirty="0" smtClean="0"/>
              <a:t>до</a:t>
            </a:r>
            <a:r>
              <a:rPr lang="ru-RU" sz="1200" dirty="0" smtClean="0"/>
              <a:t> 90 календарных дней включительно</a:t>
            </a:r>
            <a:endParaRPr lang="ru-RU" sz="1200" dirty="0"/>
          </a:p>
        </p:txBody>
      </p:sp>
      <p:sp>
        <p:nvSpPr>
          <p:cNvPr id="23" name="TextBox 22"/>
          <p:cNvSpPr txBox="1"/>
          <p:nvPr/>
        </p:nvSpPr>
        <p:spPr>
          <a:xfrm>
            <a:off x="523875" y="5933390"/>
            <a:ext cx="8877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** - здесь и далее по тексту под понятием «рыночный уровень процентной ставки» понимается процентная ставка по кредитному договору, которую бы банк установил без учета субсидии 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2529204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333375" y="516732"/>
            <a:ext cx="584291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6600"/>
                </a:solidFill>
              </a:rPr>
              <a:t>Приостановление и прекращение субсидирования (2/2)</a:t>
            </a:r>
            <a:endParaRPr lang="en-US" sz="2000" b="1" dirty="0">
              <a:solidFill>
                <a:srgbClr val="0066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19100" y="1343709"/>
            <a:ext cx="84867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В течение срока действия льготного кредитного договора </a:t>
            </a:r>
            <a:r>
              <a:rPr lang="ru-RU" u="sng" dirty="0" smtClean="0">
                <a:solidFill>
                  <a:srgbClr val="FF0000"/>
                </a:solidFill>
              </a:rPr>
              <a:t>субсидирование уполномоченных банко</a:t>
            </a:r>
            <a:r>
              <a:rPr lang="ru-RU" u="sng" dirty="0">
                <a:solidFill>
                  <a:srgbClr val="FF0000"/>
                </a:solidFill>
              </a:rPr>
              <a:t>в</a:t>
            </a:r>
            <a:r>
              <a:rPr lang="ru-RU" u="sng" dirty="0" smtClean="0">
                <a:solidFill>
                  <a:srgbClr val="FF0000"/>
                </a:solidFill>
              </a:rPr>
              <a:t> может быть прекращено </a:t>
            </a:r>
            <a:endParaRPr lang="ru-RU" u="sng" dirty="0">
              <a:solidFill>
                <a:srgbClr val="FF0000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5570108"/>
              </p:ext>
            </p:extLst>
          </p:nvPr>
        </p:nvGraphicFramePr>
        <p:xfrm>
          <a:off x="531812" y="2057402"/>
          <a:ext cx="8688388" cy="32423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71602"/>
                <a:gridCol w="3816786"/>
              </a:tblGrid>
              <a:tr h="515817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Основание прекращения 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субсидирования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Последствия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 для 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заемщика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83673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Нарушение заемщиком целей использования</a:t>
                      </a:r>
                      <a:r>
                        <a:rPr lang="ru-RU" sz="1400" b="1" baseline="0" dirty="0" smtClean="0"/>
                        <a:t> льготного кредита </a:t>
                      </a:r>
                      <a:endParaRPr lang="ru-RU" sz="1400" b="1" dirty="0" smtClean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Банк увеличивает процентную ставку по кредитному договору</a:t>
                      </a:r>
                      <a:r>
                        <a:rPr lang="ru-RU" sz="1400" baseline="0" dirty="0" smtClean="0"/>
                        <a:t> до рыночного уровня</a:t>
                      </a:r>
                      <a:endParaRPr lang="ru-RU" sz="1400" dirty="0" smtClean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75938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 smtClean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Пролонгация</a:t>
                      </a:r>
                      <a:r>
                        <a:rPr lang="ru-RU" sz="1400" b="1" baseline="0" dirty="0" smtClean="0"/>
                        <a:t> окончательного срока по кредитному договору</a:t>
                      </a:r>
                      <a:endParaRPr lang="ru-RU" sz="1400" b="1" dirty="0" smtClean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 smtClean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854313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 smtClean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Недостаток </a:t>
                      </a:r>
                      <a:r>
                        <a:rPr lang="ru-RU" sz="1400" b="1" dirty="0" smtClean="0"/>
                        <a:t>бюджетных ассигнований и лимитов бюджетных обязательств</a:t>
                      </a:r>
                      <a:endParaRPr lang="ru-RU" sz="1400" dirty="0" smtClean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 smtClean="0"/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</a:rPr>
                        <a:t>Банк увеличивает процентную ставку по кредитному договору на величину Ключевой ставки Банка России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DDEBCF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2700000" scaled="1"/>
                      <a:tileRect/>
                    </a:gra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2059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Прямоугольник 39"/>
          <p:cNvSpPr/>
          <p:nvPr/>
        </p:nvSpPr>
        <p:spPr>
          <a:xfrm>
            <a:off x="1190087" y="1238250"/>
            <a:ext cx="7506626" cy="1400175"/>
          </a:xfrm>
          <a:prstGeom prst="rect">
            <a:avLst/>
          </a:prstGeom>
          <a:solidFill>
            <a:srgbClr val="FFE48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333375" y="4219575"/>
            <a:ext cx="9191625" cy="981018"/>
          </a:xfrm>
          <a:prstGeom prst="rect">
            <a:avLst/>
          </a:prstGeom>
          <a:solidFill>
            <a:srgbClr val="CCE9A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180562" y="3009899"/>
            <a:ext cx="7506626" cy="857251"/>
          </a:xfrm>
          <a:prstGeom prst="rect">
            <a:avLst/>
          </a:prstGeom>
          <a:solidFill>
            <a:srgbClr val="CCE9A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33375" y="516732"/>
            <a:ext cx="584291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атели </a:t>
            </a:r>
            <a:r>
              <a:rPr lang="ru-RU" sz="20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ьготных кредитов</a:t>
            </a:r>
            <a:endParaRPr lang="en-US" sz="2000" b="1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492706" y="1617049"/>
            <a:ext cx="1634745" cy="888025"/>
          </a:xfrm>
          <a:prstGeom prst="rect">
            <a:avLst/>
          </a:prstGeom>
          <a:solidFill>
            <a:srgbClr val="FFC30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ru-RU" sz="15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и</a:t>
            </a:r>
          </a:p>
        </p:txBody>
      </p:sp>
      <p:sp>
        <p:nvSpPr>
          <p:cNvPr id="11" name="Стрелка вниз 10"/>
          <p:cNvSpPr/>
          <p:nvPr/>
        </p:nvSpPr>
        <p:spPr>
          <a:xfrm>
            <a:off x="3557196" y="2705102"/>
            <a:ext cx="590941" cy="274958"/>
          </a:xfrm>
          <a:prstGeom prst="downArrow">
            <a:avLst/>
          </a:prstGeom>
          <a:solidFill>
            <a:srgbClr val="FFE48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346928" y="3362325"/>
            <a:ext cx="3136443" cy="419101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39999">
                <a:schemeClr val="accent3"/>
              </a:gs>
              <a:gs pos="70000">
                <a:srgbClr val="92D050"/>
              </a:gs>
              <a:gs pos="100000">
                <a:srgbClr val="92D050"/>
              </a:gs>
            </a:gsLst>
            <a:lin ang="5400000" scaled="0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вотноводство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492707" y="3362326"/>
            <a:ext cx="3136443" cy="4191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39999">
                <a:schemeClr val="accent3"/>
              </a:gs>
              <a:gs pos="70000">
                <a:srgbClr val="92D050"/>
              </a:gs>
              <a:gs pos="100000">
                <a:srgbClr val="92D050"/>
              </a:gs>
            </a:gsLst>
            <a:lin ang="5400000" scaled="0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тениеводство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843360" y="4552949"/>
            <a:ext cx="2018614" cy="4572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39999">
                <a:schemeClr val="accent3"/>
              </a:gs>
              <a:gs pos="70000">
                <a:srgbClr val="92D050"/>
              </a:gs>
              <a:gs pos="100000">
                <a:srgbClr val="92D050"/>
              </a:gs>
            </a:gsLst>
            <a:lin ang="5400000" scaled="0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вичная переработка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66725" y="4552950"/>
            <a:ext cx="2018614" cy="4572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39999">
                <a:schemeClr val="accent3"/>
              </a:gs>
              <a:gs pos="70000">
                <a:srgbClr val="92D050"/>
              </a:gs>
              <a:gs pos="100000">
                <a:srgbClr val="92D050"/>
              </a:gs>
            </a:gsLst>
            <a:lin ang="5400000" scaled="0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о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131106" y="4552950"/>
            <a:ext cx="2018614" cy="4572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39999">
                <a:schemeClr val="accent3"/>
              </a:gs>
              <a:gs pos="70000">
                <a:srgbClr val="92D050"/>
              </a:gs>
              <a:gs pos="100000">
                <a:srgbClr val="92D050"/>
              </a:gs>
            </a:gsLst>
            <a:lin ang="5400000" scaled="0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дующая переработка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7382410" y="4552950"/>
            <a:ext cx="2018614" cy="4572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39999">
                <a:schemeClr val="accent3"/>
              </a:gs>
              <a:gs pos="70000">
                <a:srgbClr val="92D050"/>
              </a:gs>
              <a:gs pos="100000">
                <a:srgbClr val="92D050"/>
              </a:gs>
            </a:gsLst>
            <a:lin ang="5400000" scaled="0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Стрелка вниз 25"/>
          <p:cNvSpPr/>
          <p:nvPr/>
        </p:nvSpPr>
        <p:spPr>
          <a:xfrm>
            <a:off x="5844941" y="2705100"/>
            <a:ext cx="590941" cy="274958"/>
          </a:xfrm>
          <a:prstGeom prst="downArrow">
            <a:avLst/>
          </a:prstGeom>
          <a:solidFill>
            <a:srgbClr val="FFE48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416757" y="3009900"/>
            <a:ext cx="35439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траслевая принадлежность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951771" y="4152898"/>
            <a:ext cx="25028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иды деятельности</a:t>
            </a:r>
          </a:p>
        </p:txBody>
      </p:sp>
      <p:sp>
        <p:nvSpPr>
          <p:cNvPr id="33" name="Стрелка вниз 32"/>
          <p:cNvSpPr/>
          <p:nvPr/>
        </p:nvSpPr>
        <p:spPr>
          <a:xfrm>
            <a:off x="1180561" y="3905251"/>
            <a:ext cx="590941" cy="280111"/>
          </a:xfrm>
          <a:prstGeom prst="downArrow">
            <a:avLst/>
          </a:prstGeom>
          <a:solidFill>
            <a:srgbClr val="CCE9A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Стрелка вниз 33"/>
          <p:cNvSpPr/>
          <p:nvPr/>
        </p:nvSpPr>
        <p:spPr>
          <a:xfrm>
            <a:off x="8096246" y="3905250"/>
            <a:ext cx="590941" cy="280111"/>
          </a:xfrm>
          <a:prstGeom prst="downArrow">
            <a:avLst/>
          </a:prstGeom>
          <a:solidFill>
            <a:srgbClr val="CCE9A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Стрелка вниз 34"/>
          <p:cNvSpPr/>
          <p:nvPr/>
        </p:nvSpPr>
        <p:spPr>
          <a:xfrm>
            <a:off x="5844942" y="3901362"/>
            <a:ext cx="590941" cy="280111"/>
          </a:xfrm>
          <a:prstGeom prst="downArrow">
            <a:avLst/>
          </a:prstGeom>
          <a:solidFill>
            <a:srgbClr val="CCE9A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Стрелка вниз 35"/>
          <p:cNvSpPr/>
          <p:nvPr/>
        </p:nvSpPr>
        <p:spPr>
          <a:xfrm>
            <a:off x="3557196" y="3905251"/>
            <a:ext cx="590941" cy="280111"/>
          </a:xfrm>
          <a:prstGeom prst="downArrow">
            <a:avLst/>
          </a:prstGeom>
          <a:solidFill>
            <a:srgbClr val="CCE9A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 flipV="1">
            <a:off x="333375" y="5381625"/>
            <a:ext cx="9191625" cy="190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364960" y="1219200"/>
            <a:ext cx="30161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убъекты кредитования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3298629" y="1617049"/>
            <a:ext cx="1592034" cy="888025"/>
          </a:xfrm>
          <a:prstGeom prst="rect">
            <a:avLst/>
          </a:prstGeom>
          <a:solidFill>
            <a:srgbClr val="FFC30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ru-RU" sz="15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 </a:t>
            </a:r>
            <a:r>
              <a:rPr lang="ru-RU" sz="15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5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5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15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ИП-Главы КФХ)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5019332" y="1617049"/>
            <a:ext cx="1651220" cy="888025"/>
          </a:xfrm>
          <a:prstGeom prst="rect">
            <a:avLst/>
          </a:prstGeom>
          <a:solidFill>
            <a:srgbClr val="FFC30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ru-RU" sz="15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ФХ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6891337" y="1617049"/>
            <a:ext cx="1592034" cy="888025"/>
          </a:xfrm>
          <a:prstGeom prst="rect">
            <a:avLst/>
          </a:prstGeom>
          <a:solidFill>
            <a:srgbClr val="FFC30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ru-RU" sz="15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К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333375" y="5467350"/>
            <a:ext cx="6934197" cy="904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marL="85725">
              <a:tabLst>
                <a:tab pos="180975" algn="l"/>
              </a:tabLst>
            </a:pPr>
            <a:r>
              <a:rPr lang="ru-RU" sz="15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ьготное кредитование не распространяется на</a:t>
            </a:r>
            <a:r>
              <a:rPr lang="ru-RU" sz="15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361950" indent="-276225">
              <a:buFont typeface="Wingdings" panose="05000000000000000000" pitchFamily="2" charset="2"/>
              <a:buChar char="Ø"/>
              <a:tabLst>
                <a:tab pos="180975" algn="l"/>
              </a:tabLst>
            </a:pPr>
            <a:r>
              <a:rPr lang="ru-RU" sz="15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ПК</a:t>
            </a:r>
            <a:endParaRPr lang="ru-RU" sz="15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-276225">
              <a:buFont typeface="Wingdings" panose="05000000000000000000" pitchFamily="2" charset="2"/>
              <a:buChar char="Ø"/>
              <a:tabLst>
                <a:tab pos="180975" algn="l"/>
              </a:tabLst>
            </a:pPr>
            <a:r>
              <a:rPr lang="ru-RU" sz="15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ятия, занимающиеся рыболовством и рыбоводством</a:t>
            </a:r>
            <a:endParaRPr lang="ru-RU" sz="15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7605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EXTBOX" val="Раздел &quot;Арх&quot;. - обновить (количество слайдов сохраняется)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/27/2010 6:30:5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10/27/2010 6:46:2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5/03/11 08:11:4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/27/2010 6:30:5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10/27/2010 6:46:2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5/03/11 08:11:4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/27/2010 6:30:56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10/27/2010 6:46:2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5/03/11 08:11:4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/27/2010 6:30:5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10/27/2010 6:46:2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5/03/11 08:11:4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US Presi Template">
  <a:themeElements>
    <a:clrScheme name="RSHB IT Strategy Palette">
      <a:dk1>
        <a:sysClr val="windowText" lastClr="000000"/>
      </a:dk1>
      <a:lt1>
        <a:sysClr val="window" lastClr="FFFFFF"/>
      </a:lt1>
      <a:dk2>
        <a:srgbClr val="5B8D64"/>
      </a:dk2>
      <a:lt2>
        <a:srgbClr val="BFBFBF"/>
      </a:lt2>
      <a:accent1>
        <a:srgbClr val="FFCB05"/>
      </a:accent1>
      <a:accent2>
        <a:srgbClr val="2B6030"/>
      </a:accent2>
      <a:accent3>
        <a:srgbClr val="238441"/>
      </a:accent3>
      <a:accent4>
        <a:srgbClr val="6AA744"/>
      </a:accent4>
      <a:accent5>
        <a:srgbClr val="A6CE39"/>
      </a:accent5>
      <a:accent6>
        <a:srgbClr val="D09C2B"/>
      </a:accent6>
      <a:hlink>
        <a:srgbClr val="238441"/>
      </a:hlink>
      <a:folHlink>
        <a:srgbClr val="D8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9_RUS Presi Template">
  <a:themeElements>
    <a:clrScheme name="RSHB IT Strategy Palette">
      <a:dk1>
        <a:sysClr val="windowText" lastClr="000000"/>
      </a:dk1>
      <a:lt1>
        <a:sysClr val="window" lastClr="FFFFFF"/>
      </a:lt1>
      <a:dk2>
        <a:srgbClr val="5B8D64"/>
      </a:dk2>
      <a:lt2>
        <a:srgbClr val="BFBFBF"/>
      </a:lt2>
      <a:accent1>
        <a:srgbClr val="FFCB05"/>
      </a:accent1>
      <a:accent2>
        <a:srgbClr val="2B6030"/>
      </a:accent2>
      <a:accent3>
        <a:srgbClr val="238441"/>
      </a:accent3>
      <a:accent4>
        <a:srgbClr val="6AA744"/>
      </a:accent4>
      <a:accent5>
        <a:srgbClr val="A6CE39"/>
      </a:accent5>
      <a:accent6>
        <a:srgbClr val="D09C2B"/>
      </a:accent6>
      <a:hlink>
        <a:srgbClr val="238441"/>
      </a:hlink>
      <a:folHlink>
        <a:srgbClr val="D8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0_RUS Presi Template">
  <a:themeElements>
    <a:clrScheme name="RSHB IT Strategy Palette">
      <a:dk1>
        <a:sysClr val="windowText" lastClr="000000"/>
      </a:dk1>
      <a:lt1>
        <a:sysClr val="window" lastClr="FFFFFF"/>
      </a:lt1>
      <a:dk2>
        <a:srgbClr val="5B8D64"/>
      </a:dk2>
      <a:lt2>
        <a:srgbClr val="BFBFBF"/>
      </a:lt2>
      <a:accent1>
        <a:srgbClr val="FFCB05"/>
      </a:accent1>
      <a:accent2>
        <a:srgbClr val="2B6030"/>
      </a:accent2>
      <a:accent3>
        <a:srgbClr val="238441"/>
      </a:accent3>
      <a:accent4>
        <a:srgbClr val="6AA744"/>
      </a:accent4>
      <a:accent5>
        <a:srgbClr val="A6CE39"/>
      </a:accent5>
      <a:accent6>
        <a:srgbClr val="D09C2B"/>
      </a:accent6>
      <a:hlink>
        <a:srgbClr val="238441"/>
      </a:hlink>
      <a:folHlink>
        <a:srgbClr val="D8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2_RUS Presi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RUS Presi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1_RUS Presi Template">
  <a:themeElements>
    <a:clrScheme name="RSHB IT Strategy Palette">
      <a:dk1>
        <a:sysClr val="windowText" lastClr="000000"/>
      </a:dk1>
      <a:lt1>
        <a:sysClr val="window" lastClr="FFFFFF"/>
      </a:lt1>
      <a:dk2>
        <a:srgbClr val="5B8D64"/>
      </a:dk2>
      <a:lt2>
        <a:srgbClr val="BFBFBF"/>
      </a:lt2>
      <a:accent1>
        <a:srgbClr val="FFCB05"/>
      </a:accent1>
      <a:accent2>
        <a:srgbClr val="2B6030"/>
      </a:accent2>
      <a:accent3>
        <a:srgbClr val="238441"/>
      </a:accent3>
      <a:accent4>
        <a:srgbClr val="6AA744"/>
      </a:accent4>
      <a:accent5>
        <a:srgbClr val="A6CE39"/>
      </a:accent5>
      <a:accent6>
        <a:srgbClr val="D09C2B"/>
      </a:accent6>
      <a:hlink>
        <a:srgbClr val="238441"/>
      </a:hlink>
      <a:folHlink>
        <a:srgbClr val="D8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6A1CD24D4DFF4CA01DEA3D697E055C" ma:contentTypeVersion="0" ma:contentTypeDescription="Create a new document." ma:contentTypeScope="" ma:versionID="62e1661a241f1aaf9caacf90a199d5d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4B3996E-C9F6-4ED8-8ACE-5FCB64E8F14A}">
  <ds:schemaRefs>
    <ds:schemaRef ds:uri="http://purl.org/dc/dcmitype/"/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6448785-14A0-4236-B398-8AC13AC238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F673881-8E28-4DD3-A366-1A96BCAEE7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575</TotalTime>
  <Words>1911</Words>
  <Application>Microsoft Office PowerPoint</Application>
  <PresentationFormat>Лист A4 (210x297 мм)</PresentationFormat>
  <Paragraphs>226</Paragraphs>
  <Slides>13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0" baseType="lpstr">
      <vt:lpstr>RUS Presi Template</vt:lpstr>
      <vt:lpstr>9_RUS Presi Template</vt:lpstr>
      <vt:lpstr>10_RUS Presi Template</vt:lpstr>
      <vt:lpstr>2_RUS Presi Template</vt:lpstr>
      <vt:lpstr>3_RUS Presi Template</vt:lpstr>
      <vt:lpstr>11_RUS Presi Templat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Accentur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meeting Week 7 20110725</dc:title>
  <dc:creator>ilya.sirota@accenture.com</dc:creator>
  <cp:lastModifiedBy>Рокина Наталья Юрьевна</cp:lastModifiedBy>
  <cp:revision>5513</cp:revision>
  <cp:lastPrinted>2017-01-13T15:43:00Z</cp:lastPrinted>
  <dcterms:created xsi:type="dcterms:W3CDTF">2010-08-24T16:42:52Z</dcterms:created>
  <dcterms:modified xsi:type="dcterms:W3CDTF">2017-01-13T15:5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6A1CD24D4DFF4CA01DEA3D697E055C</vt:lpwstr>
  </property>
  <property fmtid="{D5CDD505-2E9C-101B-9397-08002B2CF9AE}" pid="3" name="_NewReviewCycle">
    <vt:lpwstr/>
  </property>
</Properties>
</file>